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3.xml" ContentType="application/vnd.openxmlformats-officedocument.presentationml.notesSlide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3.xml" ContentType="application/vnd.openxmlformats-officedocument.presentationml.tags+xml"/>
  <Override PartName="/ppt/notesSlides/notesSlide1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7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8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9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20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1.xml" ContentType="application/vnd.openxmlformats-officedocument.presentationml.notesSlide+xml"/>
  <Override PartName="/ppt/tags/tag79.xml" ContentType="application/vnd.openxmlformats-officedocument.presentationml.tags+xml"/>
  <Override PartName="/ppt/notesSlides/notesSlide22.xml" ContentType="application/vnd.openxmlformats-officedocument.presentationml.notesSlide+xml"/>
  <Override PartName="/ppt/tags/tag80.xml" ContentType="application/vnd.openxmlformats-officedocument.presentationml.tags+xml"/>
  <Override PartName="/ppt/notesSlides/notesSlide23.xml" ContentType="application/vnd.openxmlformats-officedocument.presentationml.notesSlide+xml"/>
  <Override PartName="/ppt/tags/tag81.xml" ContentType="application/vnd.openxmlformats-officedocument.presentationml.tags+xml"/>
  <Override PartName="/ppt/notesSlides/notesSlide2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5.xml" ContentType="application/vnd.openxmlformats-officedocument.presentationml.notesSlide+xml"/>
  <Override PartName="/ppt/tags/tag88.xml" ContentType="application/vnd.openxmlformats-officedocument.presentationml.tags+xml"/>
  <Override PartName="/ppt/notesSlides/notesSlide26.xml" ContentType="application/vnd.openxmlformats-officedocument.presentationml.notesSlide+xml"/>
  <Override PartName="/ppt/tags/tag89.xml" ContentType="application/vnd.openxmlformats-officedocument.presentationml.tags+xml"/>
  <Override PartName="/ppt/notesSlides/notesSlide27.xml" ContentType="application/vnd.openxmlformats-officedocument.presentationml.notesSlide+xml"/>
  <Override PartName="/ppt/tags/tag90.xml" ContentType="application/vnd.openxmlformats-officedocument.presentationml.tags+xml"/>
  <Override PartName="/ppt/notesSlides/notesSlide28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9.xml" ContentType="application/vnd.openxmlformats-officedocument.presentationml.notesSlide+xml"/>
  <Override PartName="/ppt/tags/tag96.xml" ContentType="application/vnd.openxmlformats-officedocument.presentationml.tags+xml"/>
  <Override PartName="/ppt/notesSlides/notesSlide30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62" r:id="rId2"/>
    <p:sldId id="263" r:id="rId3"/>
    <p:sldId id="264" r:id="rId4"/>
    <p:sldId id="267" r:id="rId5"/>
    <p:sldId id="1493" r:id="rId6"/>
    <p:sldId id="265" r:id="rId7"/>
    <p:sldId id="266" r:id="rId8"/>
    <p:sldId id="256" r:id="rId9"/>
    <p:sldId id="268" r:id="rId10"/>
    <p:sldId id="1485" r:id="rId11"/>
    <p:sldId id="1495" r:id="rId12"/>
    <p:sldId id="1500" r:id="rId13"/>
    <p:sldId id="1499" r:id="rId14"/>
    <p:sldId id="1496" r:id="rId15"/>
    <p:sldId id="1497" r:id="rId16"/>
    <p:sldId id="1486" r:id="rId17"/>
    <p:sldId id="1489" r:id="rId18"/>
    <p:sldId id="1491" r:id="rId19"/>
    <p:sldId id="1483" r:id="rId20"/>
    <p:sldId id="1503" r:id="rId21"/>
    <p:sldId id="1484" r:id="rId22"/>
    <p:sldId id="276" r:id="rId23"/>
    <p:sldId id="1502" r:id="rId24"/>
    <p:sldId id="273" r:id="rId25"/>
    <p:sldId id="271" r:id="rId26"/>
    <p:sldId id="274" r:id="rId27"/>
    <p:sldId id="1501" r:id="rId28"/>
    <p:sldId id="275" r:id="rId29"/>
    <p:sldId id="277" r:id="rId30"/>
    <p:sldId id="1482" r:id="rId31"/>
    <p:sldId id="1504" r:id="rId32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1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44" autoAdjust="0"/>
    <p:restoredTop sz="96374" autoAdjust="0"/>
  </p:normalViewPr>
  <p:slideViewPr>
    <p:cSldViewPr snapToObjects="1" showGuides="1">
      <p:cViewPr varScale="1">
        <p:scale>
          <a:sx n="139" d="100"/>
          <a:sy n="139" d="100"/>
        </p:scale>
        <p:origin x="200" y="1176"/>
      </p:cViewPr>
      <p:guideLst>
        <p:guide orient="horz" pos="259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 showGuides="1">
      <p:cViewPr varScale="1">
        <p:scale>
          <a:sx n="84" d="100"/>
          <a:sy n="84" d="100"/>
        </p:scale>
        <p:origin x="2622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 err="1"/>
              <a:t>Diagrammtitel</a:t>
            </a:r>
            <a:endParaRPr lang="en-US" sz="2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F9-45C5-80E8-01024E7BBB6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F9-45C5-80E8-01024E7BBB65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F9-45C5-80E8-01024E7BB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99004919"/>
        <c:axId val="1299005639"/>
      </c:barChart>
      <c:catAx>
        <c:axId val="1299004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99005639"/>
        <c:crosses val="autoZero"/>
        <c:auto val="1"/>
        <c:lblAlgn val="ctr"/>
        <c:lblOffset val="100"/>
        <c:noMultiLvlLbl val="0"/>
      </c:catAx>
      <c:valAx>
        <c:axId val="1299005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990049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B417AC22-2473-4822-8440-20C44103A4D4}" type="datetimeFigureOut">
              <a:rPr lang="de-DE" smtClean="0"/>
              <a:pPr/>
              <a:t>21.05.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>
              <a:latin typeface="Univers LT Std 47 Cn Lt" panose="020B040602020204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6D13673B-28EA-47AF-BDB9-C168888C00E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2529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70481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44324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48676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54893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21442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5320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7435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00637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60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62210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2027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89190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299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04951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49851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81315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36449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6044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1447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22546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17397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932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45941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51791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65960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490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0371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98861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3424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3673B-28EA-47AF-BDB9-C168888C00E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7812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allmer.de/" TargetMode="External"/><Relationship Id="rId3" Type="http://schemas.openxmlformats.org/officeDocument/2006/relationships/tags" Target="../tags/tag19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8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20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387890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7289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000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39D42E-1DB5-3A27-9D06-99BD7223272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56C0499-7BD3-A09F-D740-3897CF9C76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0292FAA8-CAE7-C1D1-D8BF-810B8EBCB5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27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dunke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6416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08F56A-7683-5FD0-4D23-8B19A75D903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2B84DB-28EA-2176-23E8-4DF59CF49C2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596A53-5C95-BE65-05CB-F6E0B4D511C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1795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hel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585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platzhalter 20">
            <a:extLst>
              <a:ext uri="{FF2B5EF4-FFF2-40B4-BE49-F238E27FC236}">
                <a16:creationId xmlns:a16="http://schemas.microsoft.com/office/drawing/2014/main" id="{820B71A9-9D4D-2A5F-3BE6-E5F95FDBE5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5F27386-BA96-7388-2058-DB06ABFF70C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22B2CF-40C1-7682-8CA4-82037A85B6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9C05721-C1B5-76E5-9D81-21D6463194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66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dunke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09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DDA07A35-B931-C533-87D6-7ED279EDA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1C50924-ADD8-0782-E94B-CA2DE16928F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C3691F-6171-A6F0-3496-7841C4C7CAA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10815D-E71C-B6C9-FFF9-0687F27F88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285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unkel+Bild hell link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241954-1E3B-30BE-0B95-84DCED061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110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41954-1E3B-30BE-0B95-84DCED061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6325F4E-C095-8887-AD8C-781059245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33354-6B0F-32D1-6B95-72F2628DC1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453187"/>
            <a:ext cx="918000" cy="158572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69F6B5-CA56-1F9E-32D1-05290C3675B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CA8B1B-DC32-17F0-EBDA-08B427CCA1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9BAF54-056F-ED4E-E5AC-38AE3E1FBF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1599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89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Bildplatzhalter 22">
            <a:extLst>
              <a:ext uri="{FF2B5EF4-FFF2-40B4-BE49-F238E27FC236}">
                <a16:creationId xmlns:a16="http://schemas.microsoft.com/office/drawing/2014/main" id="{073A642A-CED5-078E-30E4-9A81124F03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 anchor="t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387890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" name="object 4">
            <a:extLst>
              <a:ext uri="{FF2B5EF4-FFF2-40B4-BE49-F238E27FC236}">
                <a16:creationId xmlns:a16="http://schemas.microsoft.com/office/drawing/2014/main" id="{E5115A5B-63BD-A241-938F-35F3A756874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08768" y="4944978"/>
            <a:ext cx="3186616" cy="499651"/>
          </a:xfrm>
          <a:prstGeom prst="rect">
            <a:avLst/>
          </a:prstGeom>
        </p:spPr>
        <p:txBody>
          <a:bodyPr vert="horz" wrap="square" lIns="0" tIns="2545" rIns="0" bIns="0" rtlCol="0">
            <a:spAutoFit/>
          </a:bodyPr>
          <a:lstStyle/>
          <a:p>
            <a:pPr marL="12724" marR="5090">
              <a:lnSpc>
                <a:spcPct val="104200"/>
              </a:lnSpc>
              <a:spcBef>
                <a:spcPts val="20"/>
              </a:spcBef>
            </a:pPr>
            <a:r>
              <a:rPr sz="1603" spc="0" dirty="0">
                <a:solidFill>
                  <a:srgbClr val="FFFFFF"/>
                </a:solidFill>
                <a:latin typeface="+mn-lt"/>
                <a:cs typeface="+mn-cs"/>
              </a:rPr>
              <a:t>Mehr Infos und aktuelle Termine finden Sie unter </a:t>
            </a:r>
            <a:r>
              <a:rPr sz="1603" spc="0" dirty="0">
                <a:solidFill>
                  <a:schemeClr val="bg1"/>
                </a:solidFill>
                <a:latin typeface="+mn-lt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llmer.de</a:t>
            </a:r>
            <a:r>
              <a:rPr lang="de-DE" sz="1603" spc="0" dirty="0">
                <a:solidFill>
                  <a:schemeClr val="bg1"/>
                </a:solidFill>
                <a:latin typeface="+mn-lt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endParaRPr sz="1603" spc="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26244F1C-8DBD-3E4B-62A6-374ABBA6A7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21491" y="4438808"/>
            <a:ext cx="1214464" cy="0"/>
          </a:xfrm>
          <a:custGeom>
            <a:avLst/>
            <a:gdLst/>
            <a:ahLst/>
            <a:cxnLst/>
            <a:rect l="l" t="t" r="r" b="b"/>
            <a:pathLst>
              <a:path w="1212214">
                <a:moveTo>
                  <a:pt x="0" y="0"/>
                </a:moveTo>
                <a:lnTo>
                  <a:pt x="1212062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pc="0">
              <a:latin typeface="+mn-lt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D99ABC0-73DD-0D6D-59C4-DB03E6D3422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749923" y="4435637"/>
            <a:ext cx="986076" cy="986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39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423D010-A3B9-7039-EA21-56726937B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270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23D010-A3B9-7039-EA21-56726937B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85BDC5-E338-2798-3015-0493E7D8E1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 anchor="t"/>
          <a:lstStyle>
            <a:lvl1pPr algn="l">
              <a:defRPr sz="3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7CD5D4E-D25C-ACC3-DA5D-91886EEC9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2" name="Grafik 23">
            <a:extLst>
              <a:ext uri="{FF2B5EF4-FFF2-40B4-BE49-F238E27FC236}">
                <a16:creationId xmlns:a16="http://schemas.microsoft.com/office/drawing/2014/main" id="{4E752B44-9257-E045-0D76-82B15DC5C0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5475" y="4221088"/>
            <a:ext cx="1296000" cy="223871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A6C53CC2-7BAD-29AA-A29A-2010FA9AF7AF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1A9B081-97C2-20F7-6A5C-7C4D15054E6D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C07CA86-CC65-AF69-8C6B-50AC00EAE16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F03A757-4A87-6815-B48B-65B9C776377A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7EA6662F-D9A6-E4FF-5F1E-90BEE28F5DEE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EF51744-D32D-3344-734E-CC6EDA2B705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7F20FC5-F85D-39CE-C9D3-9D4BBA9B292D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" name="Grafik 23">
            <a:extLst>
              <a:ext uri="{FF2B5EF4-FFF2-40B4-BE49-F238E27FC236}">
                <a16:creationId xmlns:a16="http://schemas.microsoft.com/office/drawing/2014/main" id="{ECAAF0B7-8F0D-E581-AA18-7927B486506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387890"/>
            <a:ext cx="1296000" cy="223871"/>
            <a:chOff x="3042261" y="4495188"/>
            <a:chExt cx="3720761" cy="642716"/>
          </a:xfrm>
          <a:solidFill>
            <a:schemeClr val="tx1"/>
          </a:solidFill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332C9884-0FB9-516E-0A27-F260580633A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25C3C52-FB1B-CF0E-3ED3-0C9D96F7E99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BFD1CFD-F5E4-B30C-8C70-1963A8F3BFB8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332EBED2-617A-BC87-F3C8-457AAE9E2DA3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9AB917F-F2FA-233A-BA7C-87D45520EEC5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602FF4F-D119-74DD-664D-CEC0D70FB3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807A905-8172-1818-3DB8-D4BBAE7B9BA9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1" name="Bildplatzhalter 22">
            <a:extLst>
              <a:ext uri="{FF2B5EF4-FFF2-40B4-BE49-F238E27FC236}">
                <a16:creationId xmlns:a16="http://schemas.microsoft.com/office/drawing/2014/main" id="{62187646-A1C3-195A-E563-00757FF02C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6833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unk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878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42B281DF-0E81-FBF7-D86A-123394EBB4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5299EDE-E8D1-3A63-C6B8-2700229E2DED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EF5E381-C375-6101-B9A0-C1F80C792BBB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FE05E407-C6DF-08CC-4F3A-2CA60220EB7D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1516811-FCE2-0660-666D-A2D732740889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E398B7D-13B2-305A-4225-66B9B685EE4A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9672878-1605-C083-EE32-74BE4AC292B1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B5FC74D8-4B15-4212-19F6-68E4D1C9A50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912F03A-E39C-E683-E858-F86B1B9E0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7F22B3-5636-6464-4865-6D0E3C533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02063C-981A-23CB-2A93-F6BA60F09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153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95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>
            <a:lvl1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tx1"/>
                </a:solidFill>
              </a:defRPr>
            </a:lvl1pPr>
            <a:lvl2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defRPr sz="3500">
                <a:solidFill>
                  <a:schemeClr val="accent1"/>
                </a:solidFill>
              </a:defRPr>
            </a:lvl2pPr>
            <a:lvl3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3pPr>
            <a:lvl4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4pPr>
            <a:lvl5pPr marL="806450" indent="-806450"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970088" algn="l"/>
              </a:tabLst>
              <a:defRPr sz="3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3026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890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982C96-07FC-4385-5D0D-49665F92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BFC90-C6B1-7999-78DB-FF625BA83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254D63-24A7-3D22-2C52-9450086CD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6537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76156B-F280-BB3C-B842-C614C7646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494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CC8F393-2D7B-6D19-5155-C216F9EB9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FAC815C-C4FD-2740-8B52-BB05F7C4B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40BEA59-9BB3-5559-EF17-D7C7237D6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9652B59-D1C8-A7CD-3CCF-17F6C41D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34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956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8160838-16FC-145C-39CA-83F1101FBC9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8EE8913-A495-FC86-109A-4C4FB9AC8C3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8B6877D-9AD0-EBC6-8232-5DD7BD838D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3111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dunkel+Bild rech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950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6" name="Grafik 23">
            <a:extLst>
              <a:ext uri="{FF2B5EF4-FFF2-40B4-BE49-F238E27FC236}">
                <a16:creationId xmlns:a16="http://schemas.microsoft.com/office/drawing/2014/main" id="{E12EA9DF-0503-8AB7-98BD-A22FECBF6E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6E6D4A-14FA-8D5A-C3C3-71629B9D7262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6E460CC-F1A0-35EE-BAB5-DBE00E25E3BF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71305F5-0F89-01E0-A05C-86EC8B4F7981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AC58308-E0F7-4BE9-3497-9AAC2CB0AF37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375EC271-D26D-FCD0-D79F-D828597F1886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D0D19EF-8975-77DF-7769-749845325C49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8280F06-77AE-E208-653E-F0027530410F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grpFill/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C5ACDE0-8F5B-2873-7696-3E5B65A807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62621ACC-714D-2030-8B80-BEFFBCF7FC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29A95247-8BF6-D414-D1F5-023D27CB4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4377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ll+Bild rechts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977EB5B-8228-C601-1176-E715BE9D4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057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EB5B-8228-C601-1176-E715BE9D4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3D29DB-C29F-7E03-7D11-D8E722D7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404813"/>
            <a:ext cx="3298134" cy="830997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0FCC40-B9BD-CC74-817B-4FE8B7ABC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0CCE803F-76E1-51EF-2D37-8BB55EF49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6125" y="0"/>
            <a:ext cx="8125875" cy="6858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F41598-3133-DEA5-4B4A-F97352D0E71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056E14-C148-45DE-8E76-D62ABCF062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7F5AA81-389D-43B3-8365-FD92204D48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12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75BFF54-B045-6376-ABED-8AFA545708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6115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1" progId="TCLayout.ActiveDocument.1">
                  <p:embed/>
                </p:oleObj>
              </mc:Choice>
              <mc:Fallback>
                <p:oleObj name="think-cell Folie" r:id="rId1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4CB42BA-7FFF-86C8-18C9-00F876BC1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B79CC4-B984-FE07-86DB-E27C14A76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2060847"/>
            <a:ext cx="11376024" cy="4116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CDB560-0E26-E7F2-8CA3-0FFCF92C46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53373" y="6492746"/>
            <a:ext cx="436017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3/18/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FDD9D6-4010-119B-0CC2-1F63BEF6A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8120" y="6492746"/>
            <a:ext cx="6359135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EF44F7-14B7-8278-989A-9F73D443C5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0820" y="6492746"/>
            <a:ext cx="423193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5" name="Grafik 23">
            <a:extLst>
              <a:ext uri="{FF2B5EF4-FFF2-40B4-BE49-F238E27FC236}">
                <a16:creationId xmlns:a16="http://schemas.microsoft.com/office/drawing/2014/main" id="{29918631-BB4F-59CB-4917-BE599DCE312F}"/>
              </a:ext>
            </a:extLst>
          </p:cNvPr>
          <p:cNvGrpSpPr>
            <a:grpSpLocks noChangeAspect="1"/>
          </p:cNvGrpSpPr>
          <p:nvPr/>
        </p:nvGrpSpPr>
        <p:grpSpPr>
          <a:xfrm>
            <a:off x="407989" y="6453187"/>
            <a:ext cx="918000" cy="158572"/>
            <a:chOff x="3042261" y="4495188"/>
            <a:chExt cx="3720761" cy="642716"/>
          </a:xfrm>
          <a:solidFill>
            <a:srgbClr val="000000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AC0925B-28CE-EA29-731C-C0B118FEC246}"/>
                </a:ext>
              </a:extLst>
            </p:cNvPr>
            <p:cNvSpPr/>
            <p:nvPr/>
          </p:nvSpPr>
          <p:spPr>
            <a:xfrm>
              <a:off x="3042261" y="4495188"/>
              <a:ext cx="450339" cy="638344"/>
            </a:xfrm>
            <a:custGeom>
              <a:avLst/>
              <a:gdLst>
                <a:gd name="connsiteX0" fmla="*/ 262333 w 450339"/>
                <a:gd name="connsiteY0" fmla="*/ 638345 h 638344"/>
                <a:gd name="connsiteX1" fmla="*/ 251403 w 450339"/>
                <a:gd name="connsiteY1" fmla="*/ 638345 h 638344"/>
                <a:gd name="connsiteX2" fmla="*/ 0 w 450339"/>
                <a:gd name="connsiteY2" fmla="*/ 638345 h 638344"/>
                <a:gd name="connsiteX3" fmla="*/ 0 w 450339"/>
                <a:gd name="connsiteY3" fmla="*/ 0 h 638344"/>
                <a:gd name="connsiteX4" fmla="*/ 266706 w 450339"/>
                <a:gd name="connsiteY4" fmla="*/ 0 h 638344"/>
                <a:gd name="connsiteX5" fmla="*/ 450339 w 450339"/>
                <a:gd name="connsiteY5" fmla="*/ 192378 h 638344"/>
                <a:gd name="connsiteX6" fmla="*/ 450339 w 450339"/>
                <a:gd name="connsiteY6" fmla="*/ 452525 h 638344"/>
                <a:gd name="connsiteX7" fmla="*/ 393500 w 450339"/>
                <a:gd name="connsiteY7" fmla="*/ 598995 h 638344"/>
                <a:gd name="connsiteX8" fmla="*/ 262333 w 450339"/>
                <a:gd name="connsiteY8" fmla="*/ 638345 h 638344"/>
                <a:gd name="connsiteX9" fmla="*/ 137725 w 450339"/>
                <a:gd name="connsiteY9" fmla="*/ 500620 h 638344"/>
                <a:gd name="connsiteX10" fmla="*/ 257961 w 450339"/>
                <a:gd name="connsiteY10" fmla="*/ 500620 h 638344"/>
                <a:gd name="connsiteX11" fmla="*/ 319172 w 450339"/>
                <a:gd name="connsiteY11" fmla="*/ 445967 h 638344"/>
                <a:gd name="connsiteX12" fmla="*/ 319172 w 450339"/>
                <a:gd name="connsiteY12" fmla="*/ 196750 h 638344"/>
                <a:gd name="connsiteX13" fmla="*/ 255775 w 450339"/>
                <a:gd name="connsiteY13" fmla="*/ 135539 h 638344"/>
                <a:gd name="connsiteX14" fmla="*/ 135539 w 450339"/>
                <a:gd name="connsiteY14" fmla="*/ 135539 h 638344"/>
                <a:gd name="connsiteX15" fmla="*/ 135539 w 450339"/>
                <a:gd name="connsiteY15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0339" h="638344">
                  <a:moveTo>
                    <a:pt x="262333" y="638345"/>
                  </a:moveTo>
                  <a:cubicBezTo>
                    <a:pt x="257961" y="638345"/>
                    <a:pt x="255775" y="638345"/>
                    <a:pt x="251403" y="638345"/>
                  </a:cubicBezTo>
                  <a:lnTo>
                    <a:pt x="0" y="638345"/>
                  </a:lnTo>
                  <a:lnTo>
                    <a:pt x="0" y="0"/>
                  </a:lnTo>
                  <a:lnTo>
                    <a:pt x="266706" y="0"/>
                  </a:lnTo>
                  <a:cubicBezTo>
                    <a:pt x="391314" y="0"/>
                    <a:pt x="450339" y="61211"/>
                    <a:pt x="450339" y="192378"/>
                  </a:cubicBezTo>
                  <a:lnTo>
                    <a:pt x="450339" y="452525"/>
                  </a:lnTo>
                  <a:cubicBezTo>
                    <a:pt x="450339" y="518108"/>
                    <a:pt x="430664" y="566203"/>
                    <a:pt x="393500" y="598995"/>
                  </a:cubicBezTo>
                  <a:cubicBezTo>
                    <a:pt x="362895" y="625228"/>
                    <a:pt x="319172" y="638345"/>
                    <a:pt x="262333" y="638345"/>
                  </a:cubicBezTo>
                  <a:close/>
                  <a:moveTo>
                    <a:pt x="137725" y="500620"/>
                  </a:moveTo>
                  <a:lnTo>
                    <a:pt x="257961" y="500620"/>
                  </a:lnTo>
                  <a:cubicBezTo>
                    <a:pt x="288567" y="500620"/>
                    <a:pt x="314800" y="478758"/>
                    <a:pt x="319172" y="445967"/>
                  </a:cubicBezTo>
                  <a:lnTo>
                    <a:pt x="319172" y="196750"/>
                  </a:lnTo>
                  <a:cubicBezTo>
                    <a:pt x="319172" y="163958"/>
                    <a:pt x="290753" y="135539"/>
                    <a:pt x="255775" y="135539"/>
                  </a:cubicBezTo>
                  <a:lnTo>
                    <a:pt x="135539" y="135539"/>
                  </a:lnTo>
                  <a:lnTo>
                    <a:pt x="135539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B8EAEE7B-80B6-D6A9-D6D1-3F8A52E28F73}"/>
                </a:ext>
              </a:extLst>
            </p:cNvPr>
            <p:cNvSpPr/>
            <p:nvPr/>
          </p:nvSpPr>
          <p:spPr>
            <a:xfrm>
              <a:off x="3612836" y="4495188"/>
              <a:ext cx="461269" cy="638344"/>
            </a:xfrm>
            <a:custGeom>
              <a:avLst/>
              <a:gdLst>
                <a:gd name="connsiteX0" fmla="*/ 461269 w 461269"/>
                <a:gd name="connsiteY0" fmla="*/ 638345 h 638344"/>
                <a:gd name="connsiteX1" fmla="*/ 323544 w 461269"/>
                <a:gd name="connsiteY1" fmla="*/ 638345 h 638344"/>
                <a:gd name="connsiteX2" fmla="*/ 323544 w 461269"/>
                <a:gd name="connsiteY2" fmla="*/ 487503 h 638344"/>
                <a:gd name="connsiteX3" fmla="*/ 137725 w 461269"/>
                <a:gd name="connsiteY3" fmla="*/ 487503 h 638344"/>
                <a:gd name="connsiteX4" fmla="*/ 137725 w 461269"/>
                <a:gd name="connsiteY4" fmla="*/ 638345 h 638344"/>
                <a:gd name="connsiteX5" fmla="*/ 0 w 461269"/>
                <a:gd name="connsiteY5" fmla="*/ 638345 h 638344"/>
                <a:gd name="connsiteX6" fmla="*/ 0 w 461269"/>
                <a:gd name="connsiteY6" fmla="*/ 188006 h 638344"/>
                <a:gd name="connsiteX7" fmla="*/ 190192 w 461269"/>
                <a:gd name="connsiteY7" fmla="*/ 0 h 638344"/>
                <a:gd name="connsiteX8" fmla="*/ 268892 w 461269"/>
                <a:gd name="connsiteY8" fmla="*/ 0 h 638344"/>
                <a:gd name="connsiteX9" fmla="*/ 461269 w 461269"/>
                <a:gd name="connsiteY9" fmla="*/ 192378 h 638344"/>
                <a:gd name="connsiteX10" fmla="*/ 461269 w 461269"/>
                <a:gd name="connsiteY10" fmla="*/ 638345 h 638344"/>
                <a:gd name="connsiteX11" fmla="*/ 137725 w 461269"/>
                <a:gd name="connsiteY11" fmla="*/ 351964 h 638344"/>
                <a:gd name="connsiteX12" fmla="*/ 323544 w 461269"/>
                <a:gd name="connsiteY12" fmla="*/ 351964 h 638344"/>
                <a:gd name="connsiteX13" fmla="*/ 323544 w 461269"/>
                <a:gd name="connsiteY13" fmla="*/ 201122 h 638344"/>
                <a:gd name="connsiteX14" fmla="*/ 262333 w 461269"/>
                <a:gd name="connsiteY14" fmla="*/ 135539 h 638344"/>
                <a:gd name="connsiteX15" fmla="*/ 198936 w 461269"/>
                <a:gd name="connsiteY15" fmla="*/ 135539 h 638344"/>
                <a:gd name="connsiteX16" fmla="*/ 137725 w 461269"/>
                <a:gd name="connsiteY16" fmla="*/ 194564 h 638344"/>
                <a:gd name="connsiteX17" fmla="*/ 137725 w 461269"/>
                <a:gd name="connsiteY17" fmla="*/ 35196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1269" h="638344">
                  <a:moveTo>
                    <a:pt x="461269" y="638345"/>
                  </a:moveTo>
                  <a:lnTo>
                    <a:pt x="323544" y="638345"/>
                  </a:lnTo>
                  <a:lnTo>
                    <a:pt x="323544" y="487503"/>
                  </a:lnTo>
                  <a:lnTo>
                    <a:pt x="137725" y="487503"/>
                  </a:lnTo>
                  <a:lnTo>
                    <a:pt x="137725" y="638345"/>
                  </a:lnTo>
                  <a:lnTo>
                    <a:pt x="0" y="638345"/>
                  </a:lnTo>
                  <a:lnTo>
                    <a:pt x="0" y="188006"/>
                  </a:lnTo>
                  <a:cubicBezTo>
                    <a:pt x="0" y="61211"/>
                    <a:pt x="63397" y="0"/>
                    <a:pt x="190192" y="0"/>
                  </a:cubicBezTo>
                  <a:lnTo>
                    <a:pt x="268892" y="0"/>
                  </a:lnTo>
                  <a:cubicBezTo>
                    <a:pt x="397872" y="0"/>
                    <a:pt x="461269" y="63397"/>
                    <a:pt x="461269" y="192378"/>
                  </a:cubicBezTo>
                  <a:lnTo>
                    <a:pt x="461269" y="638345"/>
                  </a:lnTo>
                  <a:close/>
                  <a:moveTo>
                    <a:pt x="137725" y="351964"/>
                  </a:moveTo>
                  <a:lnTo>
                    <a:pt x="323544" y="351964"/>
                  </a:lnTo>
                  <a:lnTo>
                    <a:pt x="323544" y="201122"/>
                  </a:lnTo>
                  <a:cubicBezTo>
                    <a:pt x="323544" y="163958"/>
                    <a:pt x="295125" y="135539"/>
                    <a:pt x="262333" y="135539"/>
                  </a:cubicBezTo>
                  <a:lnTo>
                    <a:pt x="198936" y="135539"/>
                  </a:lnTo>
                  <a:cubicBezTo>
                    <a:pt x="163958" y="135539"/>
                    <a:pt x="137725" y="161772"/>
                    <a:pt x="137725" y="194564"/>
                  </a:cubicBezTo>
                  <a:lnTo>
                    <a:pt x="137725" y="35196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97AFB68-5C03-9A94-09FB-8B26E0904172}"/>
                </a:ext>
              </a:extLst>
            </p:cNvPr>
            <p:cNvSpPr/>
            <p:nvPr/>
          </p:nvSpPr>
          <p:spPr>
            <a:xfrm>
              <a:off x="4205272" y="4495188"/>
              <a:ext cx="327916" cy="638344"/>
            </a:xfrm>
            <a:custGeom>
              <a:avLst/>
              <a:gdLst>
                <a:gd name="connsiteX0" fmla="*/ 327917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7917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C507CE7-DE89-2A8D-5D29-1AD341EB9EDD}"/>
                </a:ext>
              </a:extLst>
            </p:cNvPr>
            <p:cNvSpPr/>
            <p:nvPr/>
          </p:nvSpPr>
          <p:spPr>
            <a:xfrm>
              <a:off x="4627192" y="4495188"/>
              <a:ext cx="327916" cy="638344"/>
            </a:xfrm>
            <a:custGeom>
              <a:avLst/>
              <a:gdLst>
                <a:gd name="connsiteX0" fmla="*/ 325730 w 327916"/>
                <a:gd name="connsiteY0" fmla="*/ 638345 h 638344"/>
                <a:gd name="connsiteX1" fmla="*/ 0 w 327916"/>
                <a:gd name="connsiteY1" fmla="*/ 638345 h 638344"/>
                <a:gd name="connsiteX2" fmla="*/ 0 w 327916"/>
                <a:gd name="connsiteY2" fmla="*/ 0 h 638344"/>
                <a:gd name="connsiteX3" fmla="*/ 137725 w 327916"/>
                <a:gd name="connsiteY3" fmla="*/ 0 h 638344"/>
                <a:gd name="connsiteX4" fmla="*/ 137725 w 327916"/>
                <a:gd name="connsiteY4" fmla="*/ 500620 h 638344"/>
                <a:gd name="connsiteX5" fmla="*/ 327917 w 327916"/>
                <a:gd name="connsiteY5" fmla="*/ 500620 h 638344"/>
                <a:gd name="connsiteX6" fmla="*/ 327917 w 327916"/>
                <a:gd name="connsiteY6" fmla="*/ 638345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16" h="638344">
                  <a:moveTo>
                    <a:pt x="325730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137725" y="0"/>
                  </a:lnTo>
                  <a:lnTo>
                    <a:pt x="137725" y="500620"/>
                  </a:lnTo>
                  <a:lnTo>
                    <a:pt x="327917" y="500620"/>
                  </a:lnTo>
                  <a:lnTo>
                    <a:pt x="327917" y="638345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89D461FE-5E43-B00E-E8C0-A1978EB493EF}"/>
                </a:ext>
              </a:extLst>
            </p:cNvPr>
            <p:cNvSpPr/>
            <p:nvPr/>
          </p:nvSpPr>
          <p:spPr>
            <a:xfrm>
              <a:off x="5849228" y="4495188"/>
              <a:ext cx="349777" cy="638344"/>
            </a:xfrm>
            <a:custGeom>
              <a:avLst/>
              <a:gdLst>
                <a:gd name="connsiteX0" fmla="*/ 349778 w 349777"/>
                <a:gd name="connsiteY0" fmla="*/ 638345 h 638344"/>
                <a:gd name="connsiteX1" fmla="*/ 0 w 349777"/>
                <a:gd name="connsiteY1" fmla="*/ 638345 h 638344"/>
                <a:gd name="connsiteX2" fmla="*/ 0 w 349777"/>
                <a:gd name="connsiteY2" fmla="*/ 0 h 638344"/>
                <a:gd name="connsiteX3" fmla="*/ 349778 w 349777"/>
                <a:gd name="connsiteY3" fmla="*/ 0 h 638344"/>
                <a:gd name="connsiteX4" fmla="*/ 349778 w 349777"/>
                <a:gd name="connsiteY4" fmla="*/ 137725 h 638344"/>
                <a:gd name="connsiteX5" fmla="*/ 137725 w 349777"/>
                <a:gd name="connsiteY5" fmla="*/ 137725 h 638344"/>
                <a:gd name="connsiteX6" fmla="*/ 137725 w 349777"/>
                <a:gd name="connsiteY6" fmla="*/ 251403 h 638344"/>
                <a:gd name="connsiteX7" fmla="*/ 349778 w 349777"/>
                <a:gd name="connsiteY7" fmla="*/ 251403 h 638344"/>
                <a:gd name="connsiteX8" fmla="*/ 349778 w 349777"/>
                <a:gd name="connsiteY8" fmla="*/ 389128 h 638344"/>
                <a:gd name="connsiteX9" fmla="*/ 137725 w 349777"/>
                <a:gd name="connsiteY9" fmla="*/ 389128 h 638344"/>
                <a:gd name="connsiteX10" fmla="*/ 137725 w 349777"/>
                <a:gd name="connsiteY10" fmla="*/ 500620 h 638344"/>
                <a:gd name="connsiteX11" fmla="*/ 349778 w 349777"/>
                <a:gd name="connsiteY11" fmla="*/ 500620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9777" h="638344">
                  <a:moveTo>
                    <a:pt x="349778" y="638345"/>
                  </a:moveTo>
                  <a:lnTo>
                    <a:pt x="0" y="638345"/>
                  </a:lnTo>
                  <a:lnTo>
                    <a:pt x="0" y="0"/>
                  </a:lnTo>
                  <a:lnTo>
                    <a:pt x="349778" y="0"/>
                  </a:lnTo>
                  <a:lnTo>
                    <a:pt x="349778" y="137725"/>
                  </a:lnTo>
                  <a:lnTo>
                    <a:pt x="137725" y="137725"/>
                  </a:lnTo>
                  <a:lnTo>
                    <a:pt x="137725" y="251403"/>
                  </a:lnTo>
                  <a:lnTo>
                    <a:pt x="349778" y="251403"/>
                  </a:lnTo>
                  <a:lnTo>
                    <a:pt x="349778" y="389128"/>
                  </a:lnTo>
                  <a:lnTo>
                    <a:pt x="137725" y="389128"/>
                  </a:lnTo>
                  <a:lnTo>
                    <a:pt x="137725" y="500620"/>
                  </a:lnTo>
                  <a:lnTo>
                    <a:pt x="349778" y="500620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ACF5C9E7-77CE-223A-ABAA-AFD3B4FFADB7}"/>
                </a:ext>
              </a:extLst>
            </p:cNvPr>
            <p:cNvSpPr/>
            <p:nvPr/>
          </p:nvSpPr>
          <p:spPr>
            <a:xfrm>
              <a:off x="6321428" y="4495188"/>
              <a:ext cx="441594" cy="638344"/>
            </a:xfrm>
            <a:custGeom>
              <a:avLst/>
              <a:gdLst>
                <a:gd name="connsiteX0" fmla="*/ 439408 w 441594"/>
                <a:gd name="connsiteY0" fmla="*/ 450339 h 638344"/>
                <a:gd name="connsiteX1" fmla="*/ 391314 w 441594"/>
                <a:gd name="connsiteY1" fmla="*/ 360708 h 638344"/>
                <a:gd name="connsiteX2" fmla="*/ 439408 w 441594"/>
                <a:gd name="connsiteY2" fmla="*/ 273264 h 638344"/>
                <a:gd name="connsiteX3" fmla="*/ 439408 w 441594"/>
                <a:gd name="connsiteY3" fmla="*/ 179261 h 638344"/>
                <a:gd name="connsiteX4" fmla="*/ 266706 w 441594"/>
                <a:gd name="connsiteY4" fmla="*/ 0 h 638344"/>
                <a:gd name="connsiteX5" fmla="*/ 0 w 441594"/>
                <a:gd name="connsiteY5" fmla="*/ 0 h 638344"/>
                <a:gd name="connsiteX6" fmla="*/ 0 w 441594"/>
                <a:gd name="connsiteY6" fmla="*/ 638345 h 638344"/>
                <a:gd name="connsiteX7" fmla="*/ 137725 w 441594"/>
                <a:gd name="connsiteY7" fmla="*/ 638345 h 638344"/>
                <a:gd name="connsiteX8" fmla="*/ 137725 w 441594"/>
                <a:gd name="connsiteY8" fmla="*/ 435036 h 638344"/>
                <a:gd name="connsiteX9" fmla="*/ 251403 w 441594"/>
                <a:gd name="connsiteY9" fmla="*/ 435036 h 638344"/>
                <a:gd name="connsiteX10" fmla="*/ 314800 w 441594"/>
                <a:gd name="connsiteY10" fmla="*/ 500620 h 638344"/>
                <a:gd name="connsiteX11" fmla="*/ 314800 w 441594"/>
                <a:gd name="connsiteY11" fmla="*/ 638345 h 638344"/>
                <a:gd name="connsiteX12" fmla="*/ 441594 w 441594"/>
                <a:gd name="connsiteY12" fmla="*/ 638345 h 638344"/>
                <a:gd name="connsiteX13" fmla="*/ 439408 w 441594"/>
                <a:gd name="connsiteY13" fmla="*/ 450339 h 638344"/>
                <a:gd name="connsiteX14" fmla="*/ 312614 w 441594"/>
                <a:gd name="connsiteY14" fmla="*/ 244844 h 638344"/>
                <a:gd name="connsiteX15" fmla="*/ 251403 w 441594"/>
                <a:gd name="connsiteY15" fmla="*/ 306056 h 638344"/>
                <a:gd name="connsiteX16" fmla="*/ 137725 w 441594"/>
                <a:gd name="connsiteY16" fmla="*/ 306056 h 638344"/>
                <a:gd name="connsiteX17" fmla="*/ 137725 w 441594"/>
                <a:gd name="connsiteY17" fmla="*/ 135539 h 638344"/>
                <a:gd name="connsiteX18" fmla="*/ 251403 w 441594"/>
                <a:gd name="connsiteY18" fmla="*/ 135539 h 638344"/>
                <a:gd name="connsiteX19" fmla="*/ 314800 w 441594"/>
                <a:gd name="connsiteY19" fmla="*/ 196750 h 638344"/>
                <a:gd name="connsiteX20" fmla="*/ 314800 w 441594"/>
                <a:gd name="connsiteY20" fmla="*/ 244844 h 63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1594" h="638344">
                  <a:moveTo>
                    <a:pt x="439408" y="450339"/>
                  </a:moveTo>
                  <a:cubicBezTo>
                    <a:pt x="439408" y="395686"/>
                    <a:pt x="406617" y="369453"/>
                    <a:pt x="391314" y="360708"/>
                  </a:cubicBezTo>
                  <a:cubicBezTo>
                    <a:pt x="408803" y="349778"/>
                    <a:pt x="439408" y="323545"/>
                    <a:pt x="439408" y="273264"/>
                  </a:cubicBezTo>
                  <a:cubicBezTo>
                    <a:pt x="439408" y="238286"/>
                    <a:pt x="439408" y="179261"/>
                    <a:pt x="439408" y="179261"/>
                  </a:cubicBezTo>
                  <a:cubicBezTo>
                    <a:pt x="439408" y="26233"/>
                    <a:pt x="384755" y="0"/>
                    <a:pt x="266706" y="0"/>
                  </a:cubicBezTo>
                  <a:lnTo>
                    <a:pt x="0" y="0"/>
                  </a:lnTo>
                  <a:lnTo>
                    <a:pt x="0" y="638345"/>
                  </a:lnTo>
                  <a:lnTo>
                    <a:pt x="137725" y="638345"/>
                  </a:lnTo>
                  <a:lnTo>
                    <a:pt x="137725" y="435036"/>
                  </a:lnTo>
                  <a:lnTo>
                    <a:pt x="251403" y="435036"/>
                  </a:lnTo>
                  <a:cubicBezTo>
                    <a:pt x="301683" y="435036"/>
                    <a:pt x="314800" y="459083"/>
                    <a:pt x="314800" y="500620"/>
                  </a:cubicBezTo>
                  <a:lnTo>
                    <a:pt x="314800" y="638345"/>
                  </a:lnTo>
                  <a:lnTo>
                    <a:pt x="441594" y="638345"/>
                  </a:lnTo>
                  <a:lnTo>
                    <a:pt x="439408" y="450339"/>
                  </a:lnTo>
                  <a:close/>
                  <a:moveTo>
                    <a:pt x="312614" y="244844"/>
                  </a:moveTo>
                  <a:cubicBezTo>
                    <a:pt x="312614" y="277636"/>
                    <a:pt x="284195" y="306056"/>
                    <a:pt x="251403" y="306056"/>
                  </a:cubicBezTo>
                  <a:lnTo>
                    <a:pt x="137725" y="306056"/>
                  </a:lnTo>
                  <a:lnTo>
                    <a:pt x="137725" y="135539"/>
                  </a:lnTo>
                  <a:lnTo>
                    <a:pt x="251403" y="135539"/>
                  </a:lnTo>
                  <a:cubicBezTo>
                    <a:pt x="290753" y="135539"/>
                    <a:pt x="314800" y="166144"/>
                    <a:pt x="314800" y="196750"/>
                  </a:cubicBezTo>
                  <a:lnTo>
                    <a:pt x="314800" y="244844"/>
                  </a:ln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66EDD426-97E7-1CE8-38E4-0C02D9614F24}"/>
                </a:ext>
              </a:extLst>
            </p:cNvPr>
            <p:cNvSpPr/>
            <p:nvPr/>
          </p:nvSpPr>
          <p:spPr>
            <a:xfrm>
              <a:off x="5055670" y="4495188"/>
              <a:ext cx="675508" cy="642716"/>
            </a:xfrm>
            <a:custGeom>
              <a:avLst/>
              <a:gdLst>
                <a:gd name="connsiteX0" fmla="*/ 489689 w 675508"/>
                <a:gd name="connsiteY0" fmla="*/ 0 h 642716"/>
                <a:gd name="connsiteX1" fmla="*/ 424106 w 675508"/>
                <a:gd name="connsiteY1" fmla="*/ 0 h 642716"/>
                <a:gd name="connsiteX2" fmla="*/ 334475 w 675508"/>
                <a:gd name="connsiteY2" fmla="*/ 48094 h 642716"/>
                <a:gd name="connsiteX3" fmla="*/ 247031 w 675508"/>
                <a:gd name="connsiteY3" fmla="*/ 0 h 642716"/>
                <a:gd name="connsiteX4" fmla="*/ 181447 w 675508"/>
                <a:gd name="connsiteY4" fmla="*/ 0 h 642716"/>
                <a:gd name="connsiteX5" fmla="*/ 0 w 675508"/>
                <a:gd name="connsiteY5" fmla="*/ 192378 h 642716"/>
                <a:gd name="connsiteX6" fmla="*/ 0 w 675508"/>
                <a:gd name="connsiteY6" fmla="*/ 640531 h 642716"/>
                <a:gd name="connsiteX7" fmla="*/ 135539 w 675508"/>
                <a:gd name="connsiteY7" fmla="*/ 640531 h 642716"/>
                <a:gd name="connsiteX8" fmla="*/ 135539 w 675508"/>
                <a:gd name="connsiteY8" fmla="*/ 177075 h 642716"/>
                <a:gd name="connsiteX9" fmla="*/ 139911 w 675508"/>
                <a:gd name="connsiteY9" fmla="*/ 155214 h 642716"/>
                <a:gd name="connsiteX10" fmla="*/ 155214 w 675508"/>
                <a:gd name="connsiteY10" fmla="*/ 150842 h 642716"/>
                <a:gd name="connsiteX11" fmla="*/ 249217 w 675508"/>
                <a:gd name="connsiteY11" fmla="*/ 150842 h 642716"/>
                <a:gd name="connsiteX12" fmla="*/ 264519 w 675508"/>
                <a:gd name="connsiteY12" fmla="*/ 155214 h 642716"/>
                <a:gd name="connsiteX13" fmla="*/ 268892 w 675508"/>
                <a:gd name="connsiteY13" fmla="*/ 179261 h 642716"/>
                <a:gd name="connsiteX14" fmla="*/ 268892 w 675508"/>
                <a:gd name="connsiteY14" fmla="*/ 642717 h 642716"/>
                <a:gd name="connsiteX15" fmla="*/ 268892 w 675508"/>
                <a:gd name="connsiteY15" fmla="*/ 642717 h 642716"/>
                <a:gd name="connsiteX16" fmla="*/ 406617 w 675508"/>
                <a:gd name="connsiteY16" fmla="*/ 642717 h 642716"/>
                <a:gd name="connsiteX17" fmla="*/ 406617 w 675508"/>
                <a:gd name="connsiteY17" fmla="*/ 179261 h 642716"/>
                <a:gd name="connsiteX18" fmla="*/ 410989 w 675508"/>
                <a:gd name="connsiteY18" fmla="*/ 155214 h 642716"/>
                <a:gd name="connsiteX19" fmla="*/ 426292 w 675508"/>
                <a:gd name="connsiteY19" fmla="*/ 150842 h 642716"/>
                <a:gd name="connsiteX20" fmla="*/ 520294 w 675508"/>
                <a:gd name="connsiteY20" fmla="*/ 150842 h 642716"/>
                <a:gd name="connsiteX21" fmla="*/ 535597 w 675508"/>
                <a:gd name="connsiteY21" fmla="*/ 155214 h 642716"/>
                <a:gd name="connsiteX22" fmla="*/ 539970 w 675508"/>
                <a:gd name="connsiteY22" fmla="*/ 177075 h 642716"/>
                <a:gd name="connsiteX23" fmla="*/ 539970 w 675508"/>
                <a:gd name="connsiteY23" fmla="*/ 640531 h 642716"/>
                <a:gd name="connsiteX24" fmla="*/ 675509 w 675508"/>
                <a:gd name="connsiteY24" fmla="*/ 640531 h 642716"/>
                <a:gd name="connsiteX25" fmla="*/ 675509 w 675508"/>
                <a:gd name="connsiteY25" fmla="*/ 192378 h 642716"/>
                <a:gd name="connsiteX26" fmla="*/ 489689 w 675508"/>
                <a:gd name="connsiteY26" fmla="*/ 0 h 64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75508" h="642716">
                  <a:moveTo>
                    <a:pt x="489689" y="0"/>
                  </a:moveTo>
                  <a:lnTo>
                    <a:pt x="424106" y="0"/>
                  </a:lnTo>
                  <a:cubicBezTo>
                    <a:pt x="369453" y="0"/>
                    <a:pt x="343220" y="32792"/>
                    <a:pt x="334475" y="48094"/>
                  </a:cubicBezTo>
                  <a:cubicBezTo>
                    <a:pt x="323544" y="30606"/>
                    <a:pt x="297311" y="0"/>
                    <a:pt x="247031" y="0"/>
                  </a:cubicBezTo>
                  <a:lnTo>
                    <a:pt x="181447" y="0"/>
                  </a:lnTo>
                  <a:cubicBezTo>
                    <a:pt x="43722" y="0"/>
                    <a:pt x="0" y="26233"/>
                    <a:pt x="0" y="192378"/>
                  </a:cubicBezTo>
                  <a:lnTo>
                    <a:pt x="0" y="640531"/>
                  </a:lnTo>
                  <a:lnTo>
                    <a:pt x="135539" y="640531"/>
                  </a:lnTo>
                  <a:lnTo>
                    <a:pt x="135539" y="177075"/>
                  </a:lnTo>
                  <a:cubicBezTo>
                    <a:pt x="135539" y="163958"/>
                    <a:pt x="135539" y="157400"/>
                    <a:pt x="139911" y="155214"/>
                  </a:cubicBezTo>
                  <a:cubicBezTo>
                    <a:pt x="142097" y="153028"/>
                    <a:pt x="148655" y="150842"/>
                    <a:pt x="155214" y="150842"/>
                  </a:cubicBezTo>
                  <a:lnTo>
                    <a:pt x="249217" y="150842"/>
                  </a:lnTo>
                  <a:cubicBezTo>
                    <a:pt x="255775" y="150842"/>
                    <a:pt x="260147" y="150842"/>
                    <a:pt x="264519" y="155214"/>
                  </a:cubicBezTo>
                  <a:cubicBezTo>
                    <a:pt x="268892" y="159586"/>
                    <a:pt x="268892" y="163958"/>
                    <a:pt x="268892" y="179261"/>
                  </a:cubicBezTo>
                  <a:lnTo>
                    <a:pt x="268892" y="642717"/>
                  </a:lnTo>
                  <a:lnTo>
                    <a:pt x="268892" y="642717"/>
                  </a:lnTo>
                  <a:lnTo>
                    <a:pt x="406617" y="642717"/>
                  </a:lnTo>
                  <a:lnTo>
                    <a:pt x="406617" y="179261"/>
                  </a:lnTo>
                  <a:cubicBezTo>
                    <a:pt x="406617" y="166144"/>
                    <a:pt x="406617" y="159586"/>
                    <a:pt x="410989" y="155214"/>
                  </a:cubicBezTo>
                  <a:cubicBezTo>
                    <a:pt x="413175" y="153028"/>
                    <a:pt x="419734" y="150842"/>
                    <a:pt x="426292" y="150842"/>
                  </a:cubicBezTo>
                  <a:lnTo>
                    <a:pt x="520294" y="150842"/>
                  </a:lnTo>
                  <a:cubicBezTo>
                    <a:pt x="526853" y="150842"/>
                    <a:pt x="533411" y="150842"/>
                    <a:pt x="535597" y="155214"/>
                  </a:cubicBezTo>
                  <a:cubicBezTo>
                    <a:pt x="539970" y="159586"/>
                    <a:pt x="539970" y="163958"/>
                    <a:pt x="539970" y="177075"/>
                  </a:cubicBezTo>
                  <a:lnTo>
                    <a:pt x="539970" y="640531"/>
                  </a:lnTo>
                  <a:lnTo>
                    <a:pt x="675509" y="640531"/>
                  </a:lnTo>
                  <a:lnTo>
                    <a:pt x="675509" y="192378"/>
                  </a:lnTo>
                  <a:cubicBezTo>
                    <a:pt x="671136" y="26233"/>
                    <a:pt x="627414" y="0"/>
                    <a:pt x="489689" y="0"/>
                  </a:cubicBezTo>
                  <a:close/>
                </a:path>
              </a:pathLst>
            </a:custGeom>
            <a:solidFill>
              <a:srgbClr val="000000"/>
            </a:solidFill>
            <a:ln w="218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1942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60" r:id="rId3"/>
    <p:sldLayoutId id="2147483661" r:id="rId4"/>
    <p:sldLayoutId id="2147483650" r:id="rId5"/>
    <p:sldLayoutId id="2147483654" r:id="rId6"/>
    <p:sldLayoutId id="2147483659" r:id="rId7"/>
    <p:sldLayoutId id="2147483664" r:id="rId8"/>
    <p:sldLayoutId id="2147483669" r:id="rId9"/>
    <p:sldLayoutId id="2147483670" r:id="rId10"/>
    <p:sldLayoutId id="2147483662" r:id="rId11"/>
    <p:sldLayoutId id="2147483666" r:id="rId12"/>
    <p:sldLayoutId id="2147483655" r:id="rId13"/>
    <p:sldLayoutId id="2147483665" r:id="rId14"/>
    <p:sldLayoutId id="214748366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5" orient="horz" pos="1298" userDrawn="1">
          <p15:clr>
            <a:srgbClr val="F26B43"/>
          </p15:clr>
        </p15:guide>
        <p15:guide id="6" orient="horz" pos="3906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orient="horz" pos="25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notesSlide" Target="../notesSlides/notesSlide1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1.emf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oleObject" Target="../embeddings/oleObject27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oleObject" Target="../embeddings/oleObject29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47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13" Type="http://schemas.openxmlformats.org/officeDocument/2006/relationships/image" Target="../media/image20.png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19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18.png"/><Relationship Id="rId5" Type="http://schemas.openxmlformats.org/officeDocument/2006/relationships/tags" Target="../tags/tag61.xml"/><Relationship Id="rId10" Type="http://schemas.openxmlformats.org/officeDocument/2006/relationships/image" Target="../media/image1.emf"/><Relationship Id="rId4" Type="http://schemas.openxmlformats.org/officeDocument/2006/relationships/tags" Target="../tags/tag60.xml"/><Relationship Id="rId9" Type="http://schemas.openxmlformats.org/officeDocument/2006/relationships/oleObject" Target="../embeddings/oleObject3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13" Type="http://schemas.openxmlformats.org/officeDocument/2006/relationships/image" Target="../media/image23.png"/><Relationship Id="rId3" Type="http://schemas.openxmlformats.org/officeDocument/2006/relationships/tags" Target="../tags/tag65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22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21.png"/><Relationship Id="rId5" Type="http://schemas.openxmlformats.org/officeDocument/2006/relationships/tags" Target="../tags/tag67.xml"/><Relationship Id="rId10" Type="http://schemas.openxmlformats.org/officeDocument/2006/relationships/image" Target="../media/image1.emf"/><Relationship Id="rId4" Type="http://schemas.openxmlformats.org/officeDocument/2006/relationships/tags" Target="../tags/tag66.xml"/><Relationship Id="rId9" Type="http://schemas.openxmlformats.org/officeDocument/2006/relationships/oleObject" Target="../embeddings/oleObject3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mailto:name.vorname@dallmer.de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4.jpe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73.xml"/><Relationship Id="rId7" Type="http://schemas.openxmlformats.org/officeDocument/2006/relationships/notesSlide" Target="../notesSlides/notesSlide20.xml"/><Relationship Id="rId12" Type="http://schemas.openxmlformats.org/officeDocument/2006/relationships/image" Target="../media/image26.jpe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6.xml"/><Relationship Id="rId11" Type="http://schemas.openxmlformats.org/officeDocument/2006/relationships/hyperlink" Target="mailto:name.vorname@dallmer.de" TargetMode="External"/><Relationship Id="rId5" Type="http://schemas.openxmlformats.org/officeDocument/2006/relationships/tags" Target="../tags/tag75.xml"/><Relationship Id="rId10" Type="http://schemas.openxmlformats.org/officeDocument/2006/relationships/image" Target="../media/image25.jpeg"/><Relationship Id="rId4" Type="http://schemas.openxmlformats.org/officeDocument/2006/relationships/tags" Target="../tags/tag74.xml"/><Relationship Id="rId9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7.xml"/><Relationship Id="rId9" Type="http://schemas.openxmlformats.org/officeDocument/2006/relationships/hyperlink" Target="mailto:name.vorname@dallmer.de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9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1.x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3" Type="http://schemas.openxmlformats.org/officeDocument/2006/relationships/tags" Target="../tags/tag84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28.jpeg"/><Relationship Id="rId5" Type="http://schemas.openxmlformats.org/officeDocument/2006/relationships/tags" Target="../tags/tag86.xml"/><Relationship Id="rId10" Type="http://schemas.openxmlformats.org/officeDocument/2006/relationships/image" Target="../media/image1.emf"/><Relationship Id="rId4" Type="http://schemas.openxmlformats.org/officeDocument/2006/relationships/tags" Target="../tags/tag85.xml"/><Relationship Id="rId9" Type="http://schemas.openxmlformats.org/officeDocument/2006/relationships/oleObject" Target="../embeddings/oleObject4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9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0.xml"/><Relationship Id="rId6" Type="http://schemas.openxmlformats.org/officeDocument/2006/relationships/image" Target="../media/image2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93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95.xml"/><Relationship Id="rId10" Type="http://schemas.openxmlformats.org/officeDocument/2006/relationships/image" Target="../media/image29.jpeg"/><Relationship Id="rId4" Type="http://schemas.openxmlformats.org/officeDocument/2006/relationships/tags" Target="../tags/tag94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6.xml"/><Relationship Id="rId6" Type="http://schemas.openxmlformats.org/officeDocument/2006/relationships/image" Target="../media/image3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47.bin"/><Relationship Id="rId18" Type="http://schemas.openxmlformats.org/officeDocument/2006/relationships/image" Target="../media/image34.svg"/><Relationship Id="rId26" Type="http://schemas.openxmlformats.org/officeDocument/2006/relationships/image" Target="../media/image42.svg"/><Relationship Id="rId3" Type="http://schemas.openxmlformats.org/officeDocument/2006/relationships/tags" Target="../tags/tag99.xml"/><Relationship Id="rId21" Type="http://schemas.openxmlformats.org/officeDocument/2006/relationships/image" Target="../media/image37.png"/><Relationship Id="rId34" Type="http://schemas.openxmlformats.org/officeDocument/2006/relationships/image" Target="../media/image14.svg"/><Relationship Id="rId7" Type="http://schemas.openxmlformats.org/officeDocument/2006/relationships/tags" Target="../tags/tag103.xml"/><Relationship Id="rId12" Type="http://schemas.openxmlformats.org/officeDocument/2006/relationships/slideLayout" Target="../slideLayouts/slideLayout6.xml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13.png"/><Relationship Id="rId2" Type="http://schemas.openxmlformats.org/officeDocument/2006/relationships/tags" Target="../tags/tag98.xml"/><Relationship Id="rId16" Type="http://schemas.openxmlformats.org/officeDocument/2006/relationships/image" Target="../media/image32.svg"/><Relationship Id="rId20" Type="http://schemas.openxmlformats.org/officeDocument/2006/relationships/image" Target="../media/image36.svg"/><Relationship Id="rId29" Type="http://schemas.openxmlformats.org/officeDocument/2006/relationships/image" Target="../media/image45.png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image" Target="../media/image40.svg"/><Relationship Id="rId32" Type="http://schemas.openxmlformats.org/officeDocument/2006/relationships/image" Target="../media/image48.svg"/><Relationship Id="rId5" Type="http://schemas.openxmlformats.org/officeDocument/2006/relationships/tags" Target="../tags/tag101.xml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svg"/><Relationship Id="rId10" Type="http://schemas.openxmlformats.org/officeDocument/2006/relationships/tags" Target="../tags/tag106.xml"/><Relationship Id="rId19" Type="http://schemas.openxmlformats.org/officeDocument/2006/relationships/image" Target="../media/image35.png"/><Relationship Id="rId31" Type="http://schemas.openxmlformats.org/officeDocument/2006/relationships/image" Target="../media/image47.png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1.emf"/><Relationship Id="rId22" Type="http://schemas.openxmlformats.org/officeDocument/2006/relationships/image" Target="../media/image38.svg"/><Relationship Id="rId27" Type="http://schemas.openxmlformats.org/officeDocument/2006/relationships/image" Target="../media/image43.png"/><Relationship Id="rId30" Type="http://schemas.openxmlformats.org/officeDocument/2006/relationships/image" Target="../media/image46.svg"/><Relationship Id="rId8" Type="http://schemas.openxmlformats.org/officeDocument/2006/relationships/tags" Target="../tags/tag10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4237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543550" cy="1454244"/>
          </a:xfrm>
        </p:spPr>
        <p:txBody>
          <a:bodyPr vert="horz"/>
          <a:lstStyle/>
          <a:p>
            <a:r>
              <a:rPr lang="de-DE" dirty="0"/>
              <a:t>Allgemeine Titel-Folie ohne Bild</a:t>
            </a:r>
            <a:br>
              <a:rPr lang="de-DE" dirty="0"/>
            </a:br>
            <a:r>
              <a:rPr lang="de-DE" b="0" dirty="0"/>
              <a:t>Layout </a:t>
            </a:r>
            <a:r>
              <a:rPr lang="de-DE" b="0" dirty="0">
                <a:latin typeface="+mj-lt"/>
              </a:rPr>
              <a:t>‚Titelfolie dunkel‘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Referent: Max Mustermann</a:t>
            </a:r>
          </a:p>
          <a:p>
            <a:r>
              <a:rPr lang="de-DE" dirty="0"/>
              <a:t>Datum: 12.12.2024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92B2451E-C669-4168-AA57-D9BE2A48D1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0028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6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/>
              <a:t>Überschrift – Layout </a:t>
            </a:r>
            <a:br>
              <a:rPr lang="de-DE"/>
            </a:br>
            <a:r>
              <a:rPr lang="de-DE">
                <a:latin typeface="+mj-lt"/>
              </a:rPr>
              <a:t>‚Text‘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</a:p>
          <a:p>
            <a:r>
              <a:rPr lang="de-DE"/>
              <a:t>At vero eos et accusam et justo duo dolores et ea rebum.</a:t>
            </a:r>
          </a:p>
          <a:p>
            <a:pPr lvl="1"/>
            <a:r>
              <a:rPr lang="de-DE"/>
              <a:t>Stet clita kasd gubergren, no sea takimata sanctus est</a:t>
            </a:r>
          </a:p>
          <a:p>
            <a:pPr lvl="1"/>
            <a:r>
              <a:rPr lang="de-DE"/>
              <a:t>Lorem ipsum dolor sit amet.</a:t>
            </a:r>
          </a:p>
          <a:p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7146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4699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92" imgH="591" progId="TCLayout.ActiveDocument.1">
                  <p:embed/>
                </p:oleObj>
              </mc:Choice>
              <mc:Fallback>
                <p:oleObj name="think-cell Folie" r:id="rId1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Text‘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2060847"/>
            <a:ext cx="3368080" cy="4116115"/>
          </a:xfrm>
        </p:spPr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1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9E46548-D050-7096-CE26-2055720BED8D}"/>
              </a:ext>
            </a:extLst>
          </p:cNvPr>
          <p:cNvGrpSpPr/>
          <p:nvPr/>
        </p:nvGrpSpPr>
        <p:grpSpPr>
          <a:xfrm>
            <a:off x="3776068" y="2690273"/>
            <a:ext cx="8787166" cy="3011485"/>
            <a:chOff x="714372" y="2878138"/>
            <a:chExt cx="11112493" cy="3808406"/>
          </a:xfrm>
        </p:grpSpPr>
        <p:sp>
          <p:nvSpPr>
            <p:cNvPr id="2" name="Freeform 561">
              <a:extLst>
                <a:ext uri="{FF2B5EF4-FFF2-40B4-BE49-F238E27FC236}">
                  <a16:creationId xmlns:a16="http://schemas.microsoft.com/office/drawing/2014/main" id="{ACE5D9E4-0B5A-B9D5-767F-5CBDB419FC13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714372" y="2935285"/>
              <a:ext cx="11112493" cy="3751259"/>
            </a:xfrm>
            <a:custGeom>
              <a:avLst/>
              <a:gdLst>
                <a:gd name="T0" fmla="*/ 5590501 w 2920"/>
                <a:gd name="T1" fmla="*/ 350372 h 985"/>
                <a:gd name="T2" fmla="*/ 4753258 w 2920"/>
                <a:gd name="T3" fmla="*/ 220887 h 985"/>
                <a:gd name="T4" fmla="*/ 4601032 w 2920"/>
                <a:gd name="T5" fmla="*/ 262779 h 985"/>
                <a:gd name="T6" fmla="*/ 2595454 w 2920"/>
                <a:gd name="T7" fmla="*/ 258970 h 985"/>
                <a:gd name="T8" fmla="*/ 2287196 w 2920"/>
                <a:gd name="T9" fmla="*/ 350372 h 985"/>
                <a:gd name="T10" fmla="*/ 2405171 w 2920"/>
                <a:gd name="T11" fmla="*/ 232312 h 985"/>
                <a:gd name="T12" fmla="*/ 1971327 w 2920"/>
                <a:gd name="T13" fmla="*/ 457007 h 985"/>
                <a:gd name="T14" fmla="*/ 2298613 w 2920"/>
                <a:gd name="T15" fmla="*/ 190419 h 985"/>
                <a:gd name="T16" fmla="*/ 4247106 w 2920"/>
                <a:gd name="T17" fmla="*/ 1047307 h 985"/>
                <a:gd name="T18" fmla="*/ 4178604 w 2920"/>
                <a:gd name="T19" fmla="*/ 978756 h 985"/>
                <a:gd name="T20" fmla="*/ 2724846 w 2920"/>
                <a:gd name="T21" fmla="*/ 118060 h 985"/>
                <a:gd name="T22" fmla="*/ 2759097 w 2920"/>
                <a:gd name="T23" fmla="*/ 152336 h 985"/>
                <a:gd name="T24" fmla="*/ 2995047 w 2920"/>
                <a:gd name="T25" fmla="*/ 99018 h 985"/>
                <a:gd name="T26" fmla="*/ 3390835 w 2920"/>
                <a:gd name="T27" fmla="*/ 38084 h 985"/>
                <a:gd name="T28" fmla="*/ 2819987 w 2920"/>
                <a:gd name="T29" fmla="*/ 243737 h 985"/>
                <a:gd name="T30" fmla="*/ 2861849 w 2920"/>
                <a:gd name="T31" fmla="*/ 609342 h 985"/>
                <a:gd name="T32" fmla="*/ 2808570 w 2920"/>
                <a:gd name="T33" fmla="*/ 491282 h 985"/>
                <a:gd name="T34" fmla="*/ 2572620 w 2920"/>
                <a:gd name="T35" fmla="*/ 407498 h 985"/>
                <a:gd name="T36" fmla="*/ 2610676 w 2920"/>
                <a:gd name="T37" fmla="*/ 643618 h 985"/>
                <a:gd name="T38" fmla="*/ 2736263 w 2920"/>
                <a:gd name="T39" fmla="*/ 655043 h 985"/>
                <a:gd name="T40" fmla="*/ 2846627 w 2920"/>
                <a:gd name="T41" fmla="*/ 1093008 h 985"/>
                <a:gd name="T42" fmla="*/ 8467573 w 2920"/>
                <a:gd name="T43" fmla="*/ 2052722 h 985"/>
                <a:gd name="T44" fmla="*/ 8722551 w 2920"/>
                <a:gd name="T45" fmla="*/ 1096816 h 985"/>
                <a:gd name="T46" fmla="*/ 8387654 w 2920"/>
                <a:gd name="T47" fmla="*/ 1656649 h 985"/>
                <a:gd name="T48" fmla="*/ 9137367 w 2920"/>
                <a:gd name="T49" fmla="*/ 2189824 h 985"/>
                <a:gd name="T50" fmla="*/ 8635021 w 2920"/>
                <a:gd name="T51" fmla="*/ 2201249 h 985"/>
                <a:gd name="T52" fmla="*/ 8543686 w 2920"/>
                <a:gd name="T53" fmla="*/ 1382445 h 985"/>
                <a:gd name="T54" fmla="*/ 6077624 w 2920"/>
                <a:gd name="T55" fmla="*/ 2677297 h 985"/>
                <a:gd name="T56" fmla="*/ 6146126 w 2920"/>
                <a:gd name="T57" fmla="*/ 1767092 h 985"/>
                <a:gd name="T58" fmla="*/ 4087269 w 2920"/>
                <a:gd name="T59" fmla="*/ 2026063 h 985"/>
                <a:gd name="T60" fmla="*/ 5464914 w 2920"/>
                <a:gd name="T61" fmla="*/ 1172984 h 985"/>
                <a:gd name="T62" fmla="*/ 4882650 w 2920"/>
                <a:gd name="T63" fmla="*/ 1226301 h 985"/>
                <a:gd name="T64" fmla="*/ 4589615 w 2920"/>
                <a:gd name="T65" fmla="*/ 1013031 h 985"/>
                <a:gd name="T66" fmla="*/ 5019653 w 2920"/>
                <a:gd name="T67" fmla="*/ 715977 h 985"/>
                <a:gd name="T68" fmla="*/ 4521113 w 2920"/>
                <a:gd name="T69" fmla="*/ 834037 h 985"/>
                <a:gd name="T70" fmla="*/ 4703784 w 2920"/>
                <a:gd name="T71" fmla="*/ 708360 h 985"/>
                <a:gd name="T72" fmla="*/ 4928318 w 2920"/>
                <a:gd name="T73" fmla="*/ 563642 h 985"/>
                <a:gd name="T74" fmla="*/ 6207016 w 2920"/>
                <a:gd name="T75" fmla="*/ 556025 h 985"/>
                <a:gd name="T76" fmla="*/ 7257376 w 2920"/>
                <a:gd name="T77" fmla="*/ 293246 h 985"/>
                <a:gd name="T78" fmla="*/ 8775830 w 2920"/>
                <a:gd name="T79" fmla="*/ 696935 h 985"/>
                <a:gd name="T80" fmla="*/ 8144092 w 2920"/>
                <a:gd name="T81" fmla="*/ 1649032 h 985"/>
                <a:gd name="T82" fmla="*/ 5145240 w 2920"/>
                <a:gd name="T83" fmla="*/ 731211 h 985"/>
                <a:gd name="T84" fmla="*/ 3329944 w 2920"/>
                <a:gd name="T85" fmla="*/ 769295 h 985"/>
                <a:gd name="T86" fmla="*/ 3135856 w 2920"/>
                <a:gd name="T87" fmla="*/ 647426 h 985"/>
                <a:gd name="T88" fmla="*/ 3211969 w 2920"/>
                <a:gd name="T89" fmla="*/ 399881 h 985"/>
                <a:gd name="T90" fmla="*/ 3813262 w 2920"/>
                <a:gd name="T91" fmla="*/ 76168 h 985"/>
                <a:gd name="T92" fmla="*/ 3969294 w 2920"/>
                <a:gd name="T93" fmla="*/ 449390 h 985"/>
                <a:gd name="T94" fmla="*/ 3912209 w 2920"/>
                <a:gd name="T95" fmla="*/ 681702 h 985"/>
                <a:gd name="T96" fmla="*/ 8022312 w 2920"/>
                <a:gd name="T97" fmla="*/ 2155548 h 985"/>
                <a:gd name="T98" fmla="*/ 9818579 w 2920"/>
                <a:gd name="T99" fmla="*/ 3381849 h 985"/>
                <a:gd name="T100" fmla="*/ 9502710 w 2920"/>
                <a:gd name="T101" fmla="*/ 2429752 h 985"/>
                <a:gd name="T102" fmla="*/ 8802470 w 2920"/>
                <a:gd name="T103" fmla="*/ 2540195 h 985"/>
                <a:gd name="T104" fmla="*/ 10065946 w 2920"/>
                <a:gd name="T105" fmla="*/ 2871525 h 985"/>
                <a:gd name="T106" fmla="*/ 1781045 w 2920"/>
                <a:gd name="T107" fmla="*/ 3739838 h 985"/>
                <a:gd name="T108" fmla="*/ 1644041 w 2920"/>
                <a:gd name="T109" fmla="*/ 3096220 h 985"/>
                <a:gd name="T110" fmla="*/ 783964 w 2920"/>
                <a:gd name="T111" fmla="*/ 1607140 h 985"/>
                <a:gd name="T112" fmla="*/ 624127 w 2920"/>
                <a:gd name="T113" fmla="*/ 605534 h 985"/>
                <a:gd name="T114" fmla="*/ 863883 w 2920"/>
                <a:gd name="T115" fmla="*/ 239928 h 985"/>
                <a:gd name="T116" fmla="*/ 2340475 w 2920"/>
                <a:gd name="T117" fmla="*/ 620767 h 985"/>
                <a:gd name="T118" fmla="*/ 2755291 w 2920"/>
                <a:gd name="T119" fmla="*/ 963522 h 985"/>
                <a:gd name="T120" fmla="*/ 1529872 w 2920"/>
                <a:gd name="T121" fmla="*/ 1515739 h 985"/>
                <a:gd name="T122" fmla="*/ 2283390 w 2920"/>
                <a:gd name="T123" fmla="*/ 1900386 h 985"/>
                <a:gd name="T124" fmla="*/ 1906631 w 2920"/>
                <a:gd name="T125" fmla="*/ 304671 h 98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920" h="985">
                  <a:moveTo>
                    <a:pt x="1573" y="23"/>
                  </a:moveTo>
                  <a:cubicBezTo>
                    <a:pt x="1569" y="7"/>
                    <a:pt x="1594" y="18"/>
                    <a:pt x="1599" y="24"/>
                  </a:cubicBezTo>
                  <a:cubicBezTo>
                    <a:pt x="1591" y="30"/>
                    <a:pt x="1582" y="29"/>
                    <a:pt x="1573" y="28"/>
                  </a:cubicBezTo>
                  <a:cubicBezTo>
                    <a:pt x="1576" y="25"/>
                    <a:pt x="1573" y="25"/>
                    <a:pt x="1573" y="23"/>
                  </a:cubicBezTo>
                  <a:close/>
                  <a:moveTo>
                    <a:pt x="1460" y="122"/>
                  </a:moveTo>
                  <a:cubicBezTo>
                    <a:pt x="1459" y="122"/>
                    <a:pt x="1458" y="122"/>
                    <a:pt x="1458" y="123"/>
                  </a:cubicBezTo>
                  <a:cubicBezTo>
                    <a:pt x="1459" y="122"/>
                    <a:pt x="1460" y="122"/>
                    <a:pt x="1461" y="122"/>
                  </a:cubicBezTo>
                  <a:cubicBezTo>
                    <a:pt x="1459" y="124"/>
                    <a:pt x="1461" y="124"/>
                    <a:pt x="1463" y="124"/>
                  </a:cubicBezTo>
                  <a:cubicBezTo>
                    <a:pt x="1460" y="125"/>
                    <a:pt x="1459" y="126"/>
                    <a:pt x="1459" y="126"/>
                  </a:cubicBezTo>
                  <a:cubicBezTo>
                    <a:pt x="1451" y="132"/>
                    <a:pt x="1460" y="133"/>
                    <a:pt x="1465" y="129"/>
                  </a:cubicBezTo>
                  <a:cubicBezTo>
                    <a:pt x="1466" y="129"/>
                    <a:pt x="1465" y="134"/>
                    <a:pt x="1468" y="130"/>
                  </a:cubicBezTo>
                  <a:cubicBezTo>
                    <a:pt x="1471" y="132"/>
                    <a:pt x="1471" y="133"/>
                    <a:pt x="1475" y="133"/>
                  </a:cubicBezTo>
                  <a:cubicBezTo>
                    <a:pt x="1472" y="136"/>
                    <a:pt x="1474" y="135"/>
                    <a:pt x="1472" y="136"/>
                  </a:cubicBezTo>
                  <a:cubicBezTo>
                    <a:pt x="1478" y="137"/>
                    <a:pt x="1480" y="138"/>
                    <a:pt x="1485" y="139"/>
                  </a:cubicBezTo>
                  <a:cubicBezTo>
                    <a:pt x="1487" y="137"/>
                    <a:pt x="1484" y="138"/>
                    <a:pt x="1482" y="137"/>
                  </a:cubicBezTo>
                  <a:cubicBezTo>
                    <a:pt x="1487" y="138"/>
                    <a:pt x="1488" y="138"/>
                    <a:pt x="1493" y="139"/>
                  </a:cubicBezTo>
                  <a:cubicBezTo>
                    <a:pt x="1493" y="139"/>
                    <a:pt x="1491" y="138"/>
                    <a:pt x="1491" y="137"/>
                  </a:cubicBezTo>
                  <a:cubicBezTo>
                    <a:pt x="1494" y="138"/>
                    <a:pt x="1495" y="139"/>
                    <a:pt x="1497" y="138"/>
                  </a:cubicBezTo>
                  <a:cubicBezTo>
                    <a:pt x="1497" y="137"/>
                    <a:pt x="1495" y="138"/>
                    <a:pt x="1494" y="137"/>
                  </a:cubicBezTo>
                  <a:cubicBezTo>
                    <a:pt x="1495" y="136"/>
                    <a:pt x="1496" y="137"/>
                    <a:pt x="1497" y="136"/>
                  </a:cubicBezTo>
                  <a:cubicBezTo>
                    <a:pt x="1485" y="134"/>
                    <a:pt x="1479" y="124"/>
                    <a:pt x="1472" y="119"/>
                  </a:cubicBezTo>
                  <a:cubicBezTo>
                    <a:pt x="1473" y="119"/>
                    <a:pt x="1475" y="119"/>
                    <a:pt x="1476" y="118"/>
                  </a:cubicBezTo>
                  <a:cubicBezTo>
                    <a:pt x="1476" y="115"/>
                    <a:pt x="1473" y="117"/>
                    <a:pt x="1473" y="117"/>
                  </a:cubicBezTo>
                  <a:cubicBezTo>
                    <a:pt x="1473" y="116"/>
                    <a:pt x="1473" y="115"/>
                    <a:pt x="1472" y="115"/>
                  </a:cubicBezTo>
                  <a:cubicBezTo>
                    <a:pt x="1477" y="114"/>
                    <a:pt x="1480" y="113"/>
                    <a:pt x="1474" y="109"/>
                  </a:cubicBezTo>
                  <a:cubicBezTo>
                    <a:pt x="1475" y="109"/>
                    <a:pt x="1478" y="109"/>
                    <a:pt x="1479" y="110"/>
                  </a:cubicBezTo>
                  <a:cubicBezTo>
                    <a:pt x="1478" y="108"/>
                    <a:pt x="1476" y="108"/>
                    <a:pt x="1475" y="106"/>
                  </a:cubicBezTo>
                  <a:cubicBezTo>
                    <a:pt x="1476" y="107"/>
                    <a:pt x="1478" y="108"/>
                    <a:pt x="1480" y="108"/>
                  </a:cubicBezTo>
                  <a:cubicBezTo>
                    <a:pt x="1481" y="104"/>
                    <a:pt x="1478" y="105"/>
                    <a:pt x="1477" y="103"/>
                  </a:cubicBezTo>
                  <a:cubicBezTo>
                    <a:pt x="1480" y="102"/>
                    <a:pt x="1482" y="103"/>
                    <a:pt x="1479" y="101"/>
                  </a:cubicBezTo>
                  <a:cubicBezTo>
                    <a:pt x="1481" y="101"/>
                    <a:pt x="1483" y="101"/>
                    <a:pt x="1484" y="101"/>
                  </a:cubicBezTo>
                  <a:cubicBezTo>
                    <a:pt x="1484" y="101"/>
                    <a:pt x="1486" y="98"/>
                    <a:pt x="1486" y="97"/>
                  </a:cubicBezTo>
                  <a:cubicBezTo>
                    <a:pt x="1491" y="94"/>
                    <a:pt x="1531" y="77"/>
                    <a:pt x="1508" y="75"/>
                  </a:cubicBezTo>
                  <a:cubicBezTo>
                    <a:pt x="1497" y="74"/>
                    <a:pt x="1488" y="85"/>
                    <a:pt x="1476" y="86"/>
                  </a:cubicBezTo>
                  <a:cubicBezTo>
                    <a:pt x="1476" y="86"/>
                    <a:pt x="1478" y="87"/>
                    <a:pt x="1478" y="87"/>
                  </a:cubicBezTo>
                  <a:cubicBezTo>
                    <a:pt x="1478" y="87"/>
                    <a:pt x="1475" y="88"/>
                    <a:pt x="1475" y="88"/>
                  </a:cubicBezTo>
                  <a:cubicBezTo>
                    <a:pt x="1474" y="86"/>
                    <a:pt x="1474" y="88"/>
                    <a:pt x="1474" y="89"/>
                  </a:cubicBezTo>
                  <a:cubicBezTo>
                    <a:pt x="1471" y="89"/>
                    <a:pt x="1468" y="90"/>
                    <a:pt x="1469" y="92"/>
                  </a:cubicBezTo>
                  <a:cubicBezTo>
                    <a:pt x="1468" y="94"/>
                    <a:pt x="1466" y="92"/>
                    <a:pt x="1465" y="94"/>
                  </a:cubicBezTo>
                  <a:cubicBezTo>
                    <a:pt x="1464" y="95"/>
                    <a:pt x="1467" y="95"/>
                    <a:pt x="1467" y="95"/>
                  </a:cubicBezTo>
                  <a:cubicBezTo>
                    <a:pt x="1467" y="95"/>
                    <a:pt x="1467" y="96"/>
                    <a:pt x="1467" y="96"/>
                  </a:cubicBezTo>
                  <a:cubicBezTo>
                    <a:pt x="1463" y="96"/>
                    <a:pt x="1461" y="98"/>
                    <a:pt x="1457" y="98"/>
                  </a:cubicBezTo>
                  <a:cubicBezTo>
                    <a:pt x="1462" y="100"/>
                    <a:pt x="1458" y="101"/>
                    <a:pt x="1466" y="101"/>
                  </a:cubicBezTo>
                  <a:cubicBezTo>
                    <a:pt x="1464" y="102"/>
                    <a:pt x="1462" y="103"/>
                    <a:pt x="1460" y="103"/>
                  </a:cubicBezTo>
                  <a:cubicBezTo>
                    <a:pt x="1461" y="104"/>
                    <a:pt x="1464" y="103"/>
                    <a:pt x="1464" y="104"/>
                  </a:cubicBezTo>
                  <a:cubicBezTo>
                    <a:pt x="1463" y="105"/>
                    <a:pt x="1461" y="104"/>
                    <a:pt x="1460" y="105"/>
                  </a:cubicBezTo>
                  <a:cubicBezTo>
                    <a:pt x="1460" y="105"/>
                    <a:pt x="1463" y="106"/>
                    <a:pt x="1463" y="106"/>
                  </a:cubicBezTo>
                  <a:cubicBezTo>
                    <a:pt x="1463" y="106"/>
                    <a:pt x="1462" y="106"/>
                    <a:pt x="1461" y="106"/>
                  </a:cubicBezTo>
                  <a:cubicBezTo>
                    <a:pt x="1463" y="106"/>
                    <a:pt x="1466" y="108"/>
                    <a:pt x="1467" y="108"/>
                  </a:cubicBezTo>
                  <a:cubicBezTo>
                    <a:pt x="1459" y="108"/>
                    <a:pt x="1456" y="109"/>
                    <a:pt x="1459" y="113"/>
                  </a:cubicBezTo>
                  <a:cubicBezTo>
                    <a:pt x="1461" y="112"/>
                    <a:pt x="1464" y="110"/>
                    <a:pt x="1466" y="112"/>
                  </a:cubicBezTo>
                  <a:cubicBezTo>
                    <a:pt x="1463" y="113"/>
                    <a:pt x="1462" y="114"/>
                    <a:pt x="1460" y="115"/>
                  </a:cubicBezTo>
                  <a:cubicBezTo>
                    <a:pt x="1462" y="115"/>
                    <a:pt x="1464" y="115"/>
                    <a:pt x="1466" y="115"/>
                  </a:cubicBezTo>
                  <a:cubicBezTo>
                    <a:pt x="1463" y="115"/>
                    <a:pt x="1459" y="116"/>
                    <a:pt x="1457" y="118"/>
                  </a:cubicBezTo>
                  <a:cubicBezTo>
                    <a:pt x="1457" y="119"/>
                    <a:pt x="1460" y="118"/>
                    <a:pt x="1460" y="119"/>
                  </a:cubicBezTo>
                  <a:cubicBezTo>
                    <a:pt x="1458" y="120"/>
                    <a:pt x="1456" y="119"/>
                    <a:pt x="1455" y="121"/>
                  </a:cubicBezTo>
                  <a:cubicBezTo>
                    <a:pt x="1456" y="122"/>
                    <a:pt x="1459" y="121"/>
                    <a:pt x="1460" y="122"/>
                  </a:cubicBezTo>
                  <a:close/>
                  <a:moveTo>
                    <a:pt x="1272" y="88"/>
                  </a:moveTo>
                  <a:cubicBezTo>
                    <a:pt x="1275" y="87"/>
                    <a:pt x="1279" y="85"/>
                    <a:pt x="1282" y="82"/>
                  </a:cubicBezTo>
                  <a:cubicBezTo>
                    <a:pt x="1277" y="81"/>
                    <a:pt x="1272" y="83"/>
                    <a:pt x="1274" y="79"/>
                  </a:cubicBezTo>
                  <a:cubicBezTo>
                    <a:pt x="1270" y="78"/>
                    <a:pt x="1266" y="78"/>
                    <a:pt x="1261" y="80"/>
                  </a:cubicBezTo>
                  <a:cubicBezTo>
                    <a:pt x="1261" y="81"/>
                    <a:pt x="1265" y="81"/>
                    <a:pt x="1265" y="82"/>
                  </a:cubicBezTo>
                  <a:cubicBezTo>
                    <a:pt x="1265" y="84"/>
                    <a:pt x="1262" y="85"/>
                    <a:pt x="1262" y="87"/>
                  </a:cubicBezTo>
                  <a:cubicBezTo>
                    <a:pt x="1266" y="86"/>
                    <a:pt x="1269" y="86"/>
                    <a:pt x="1272" y="84"/>
                  </a:cubicBezTo>
                  <a:cubicBezTo>
                    <a:pt x="1272" y="85"/>
                    <a:pt x="1271" y="88"/>
                    <a:pt x="1272" y="88"/>
                  </a:cubicBezTo>
                  <a:close/>
                  <a:moveTo>
                    <a:pt x="1261" y="63"/>
                  </a:moveTo>
                  <a:cubicBezTo>
                    <a:pt x="1260" y="64"/>
                    <a:pt x="1257" y="63"/>
                    <a:pt x="1255" y="64"/>
                  </a:cubicBezTo>
                  <a:cubicBezTo>
                    <a:pt x="1255" y="64"/>
                    <a:pt x="1259" y="65"/>
                    <a:pt x="1258" y="65"/>
                  </a:cubicBezTo>
                  <a:cubicBezTo>
                    <a:pt x="1256" y="65"/>
                    <a:pt x="1253" y="65"/>
                    <a:pt x="1250" y="64"/>
                  </a:cubicBezTo>
                  <a:cubicBezTo>
                    <a:pt x="1257" y="68"/>
                    <a:pt x="1283" y="72"/>
                    <a:pt x="1284" y="62"/>
                  </a:cubicBezTo>
                  <a:cubicBezTo>
                    <a:pt x="1286" y="54"/>
                    <a:pt x="1269" y="56"/>
                    <a:pt x="1266" y="58"/>
                  </a:cubicBezTo>
                  <a:cubicBezTo>
                    <a:pt x="1264" y="56"/>
                    <a:pt x="1265" y="56"/>
                    <a:pt x="1263" y="54"/>
                  </a:cubicBezTo>
                  <a:cubicBezTo>
                    <a:pt x="1263" y="55"/>
                    <a:pt x="1264" y="57"/>
                    <a:pt x="1261" y="55"/>
                  </a:cubicBezTo>
                  <a:cubicBezTo>
                    <a:pt x="1262" y="57"/>
                    <a:pt x="1262" y="58"/>
                    <a:pt x="1263" y="60"/>
                  </a:cubicBezTo>
                  <a:cubicBezTo>
                    <a:pt x="1258" y="58"/>
                    <a:pt x="1254" y="57"/>
                    <a:pt x="1249" y="54"/>
                  </a:cubicBezTo>
                  <a:cubicBezTo>
                    <a:pt x="1249" y="55"/>
                    <a:pt x="1249" y="57"/>
                    <a:pt x="1249" y="58"/>
                  </a:cubicBezTo>
                  <a:cubicBezTo>
                    <a:pt x="1249" y="58"/>
                    <a:pt x="1247" y="57"/>
                    <a:pt x="1247" y="57"/>
                  </a:cubicBezTo>
                  <a:cubicBezTo>
                    <a:pt x="1247" y="58"/>
                    <a:pt x="1247" y="59"/>
                    <a:pt x="1247" y="60"/>
                  </a:cubicBezTo>
                  <a:cubicBezTo>
                    <a:pt x="1246" y="59"/>
                    <a:pt x="1239" y="59"/>
                    <a:pt x="1243" y="59"/>
                  </a:cubicBezTo>
                  <a:cubicBezTo>
                    <a:pt x="1244" y="63"/>
                    <a:pt x="1253" y="64"/>
                    <a:pt x="1261" y="63"/>
                  </a:cubicBezTo>
                  <a:close/>
                  <a:moveTo>
                    <a:pt x="1215" y="69"/>
                  </a:moveTo>
                  <a:cubicBezTo>
                    <a:pt x="1213" y="73"/>
                    <a:pt x="1215" y="70"/>
                    <a:pt x="1217" y="73"/>
                  </a:cubicBezTo>
                  <a:cubicBezTo>
                    <a:pt x="1215" y="73"/>
                    <a:pt x="1214" y="71"/>
                    <a:pt x="1212" y="72"/>
                  </a:cubicBezTo>
                  <a:cubicBezTo>
                    <a:pt x="1215" y="74"/>
                    <a:pt x="1216" y="75"/>
                    <a:pt x="1221" y="76"/>
                  </a:cubicBezTo>
                  <a:cubicBezTo>
                    <a:pt x="1220" y="76"/>
                    <a:pt x="1219" y="77"/>
                    <a:pt x="1218" y="76"/>
                  </a:cubicBezTo>
                  <a:cubicBezTo>
                    <a:pt x="1223" y="80"/>
                    <a:pt x="1224" y="80"/>
                    <a:pt x="1230" y="78"/>
                  </a:cubicBezTo>
                  <a:cubicBezTo>
                    <a:pt x="1230" y="77"/>
                    <a:pt x="1228" y="76"/>
                    <a:pt x="1228" y="74"/>
                  </a:cubicBezTo>
                  <a:cubicBezTo>
                    <a:pt x="1231" y="75"/>
                    <a:pt x="1231" y="75"/>
                    <a:pt x="1232" y="73"/>
                  </a:cubicBezTo>
                  <a:cubicBezTo>
                    <a:pt x="1234" y="76"/>
                    <a:pt x="1232" y="75"/>
                    <a:pt x="1233" y="77"/>
                  </a:cubicBezTo>
                  <a:cubicBezTo>
                    <a:pt x="1235" y="76"/>
                    <a:pt x="1237" y="74"/>
                    <a:pt x="1237" y="74"/>
                  </a:cubicBezTo>
                  <a:cubicBezTo>
                    <a:pt x="1241" y="76"/>
                    <a:pt x="1236" y="76"/>
                    <a:pt x="1242" y="76"/>
                  </a:cubicBezTo>
                  <a:cubicBezTo>
                    <a:pt x="1236" y="79"/>
                    <a:pt x="1231" y="80"/>
                    <a:pt x="1225" y="81"/>
                  </a:cubicBezTo>
                  <a:cubicBezTo>
                    <a:pt x="1225" y="81"/>
                    <a:pt x="1225" y="82"/>
                    <a:pt x="1225" y="82"/>
                  </a:cubicBezTo>
                  <a:cubicBezTo>
                    <a:pt x="1229" y="84"/>
                    <a:pt x="1236" y="84"/>
                    <a:pt x="1242" y="82"/>
                  </a:cubicBezTo>
                  <a:cubicBezTo>
                    <a:pt x="1242" y="82"/>
                    <a:pt x="1241" y="83"/>
                    <a:pt x="1241" y="83"/>
                  </a:cubicBezTo>
                  <a:cubicBezTo>
                    <a:pt x="1238" y="84"/>
                    <a:pt x="1235" y="84"/>
                    <a:pt x="1232" y="84"/>
                  </a:cubicBezTo>
                  <a:cubicBezTo>
                    <a:pt x="1233" y="85"/>
                    <a:pt x="1236" y="85"/>
                    <a:pt x="1238" y="86"/>
                  </a:cubicBezTo>
                  <a:cubicBezTo>
                    <a:pt x="1234" y="85"/>
                    <a:pt x="1230" y="86"/>
                    <a:pt x="1227" y="86"/>
                  </a:cubicBezTo>
                  <a:cubicBezTo>
                    <a:pt x="1231" y="89"/>
                    <a:pt x="1234" y="92"/>
                    <a:pt x="1240" y="92"/>
                  </a:cubicBezTo>
                  <a:cubicBezTo>
                    <a:pt x="1241" y="93"/>
                    <a:pt x="1238" y="92"/>
                    <a:pt x="1238" y="93"/>
                  </a:cubicBezTo>
                  <a:cubicBezTo>
                    <a:pt x="1246" y="99"/>
                    <a:pt x="1248" y="92"/>
                    <a:pt x="1247" y="87"/>
                  </a:cubicBezTo>
                  <a:cubicBezTo>
                    <a:pt x="1254" y="82"/>
                    <a:pt x="1249" y="74"/>
                    <a:pt x="1261" y="74"/>
                  </a:cubicBezTo>
                  <a:cubicBezTo>
                    <a:pt x="1261" y="74"/>
                    <a:pt x="1262" y="72"/>
                    <a:pt x="1262" y="72"/>
                  </a:cubicBezTo>
                  <a:cubicBezTo>
                    <a:pt x="1252" y="72"/>
                    <a:pt x="1246" y="63"/>
                    <a:pt x="1241" y="68"/>
                  </a:cubicBezTo>
                  <a:cubicBezTo>
                    <a:pt x="1239" y="57"/>
                    <a:pt x="1228" y="60"/>
                    <a:pt x="1236" y="72"/>
                  </a:cubicBezTo>
                  <a:cubicBezTo>
                    <a:pt x="1235" y="71"/>
                    <a:pt x="1231" y="71"/>
                    <a:pt x="1230" y="70"/>
                  </a:cubicBezTo>
                  <a:cubicBezTo>
                    <a:pt x="1229" y="64"/>
                    <a:pt x="1227" y="62"/>
                    <a:pt x="1225" y="69"/>
                  </a:cubicBezTo>
                  <a:cubicBezTo>
                    <a:pt x="1223" y="68"/>
                    <a:pt x="1223" y="67"/>
                    <a:pt x="1221" y="67"/>
                  </a:cubicBezTo>
                  <a:cubicBezTo>
                    <a:pt x="1221" y="66"/>
                    <a:pt x="1222" y="66"/>
                    <a:pt x="1222" y="65"/>
                  </a:cubicBezTo>
                  <a:cubicBezTo>
                    <a:pt x="1222" y="65"/>
                    <a:pt x="1218" y="66"/>
                    <a:pt x="1218" y="66"/>
                  </a:cubicBezTo>
                  <a:cubicBezTo>
                    <a:pt x="1219" y="65"/>
                    <a:pt x="1222" y="64"/>
                    <a:pt x="1223" y="63"/>
                  </a:cubicBezTo>
                  <a:cubicBezTo>
                    <a:pt x="1221" y="63"/>
                    <a:pt x="1217" y="63"/>
                    <a:pt x="1214" y="63"/>
                  </a:cubicBezTo>
                  <a:cubicBezTo>
                    <a:pt x="1214" y="63"/>
                    <a:pt x="1216" y="65"/>
                    <a:pt x="1215" y="65"/>
                  </a:cubicBezTo>
                  <a:cubicBezTo>
                    <a:pt x="1210" y="63"/>
                    <a:pt x="1210" y="65"/>
                    <a:pt x="1209" y="69"/>
                  </a:cubicBezTo>
                  <a:cubicBezTo>
                    <a:pt x="1212" y="69"/>
                    <a:pt x="1212" y="70"/>
                    <a:pt x="1215" y="69"/>
                  </a:cubicBezTo>
                  <a:close/>
                  <a:moveTo>
                    <a:pt x="681" y="60"/>
                  </a:moveTo>
                  <a:cubicBezTo>
                    <a:pt x="675" y="57"/>
                    <a:pt x="669" y="56"/>
                    <a:pt x="667" y="59"/>
                  </a:cubicBezTo>
                  <a:cubicBezTo>
                    <a:pt x="665" y="59"/>
                    <a:pt x="665" y="58"/>
                    <a:pt x="664" y="59"/>
                  </a:cubicBezTo>
                  <a:cubicBezTo>
                    <a:pt x="665" y="60"/>
                    <a:pt x="666" y="60"/>
                    <a:pt x="668" y="61"/>
                  </a:cubicBezTo>
                  <a:cubicBezTo>
                    <a:pt x="668" y="62"/>
                    <a:pt x="663" y="62"/>
                    <a:pt x="668" y="64"/>
                  </a:cubicBezTo>
                  <a:cubicBezTo>
                    <a:pt x="665" y="63"/>
                    <a:pt x="665" y="64"/>
                    <a:pt x="664" y="65"/>
                  </a:cubicBezTo>
                  <a:cubicBezTo>
                    <a:pt x="668" y="64"/>
                    <a:pt x="672" y="66"/>
                    <a:pt x="677" y="66"/>
                  </a:cubicBezTo>
                  <a:cubicBezTo>
                    <a:pt x="674" y="74"/>
                    <a:pt x="664" y="75"/>
                    <a:pt x="663" y="82"/>
                  </a:cubicBezTo>
                  <a:cubicBezTo>
                    <a:pt x="665" y="82"/>
                    <a:pt x="667" y="82"/>
                    <a:pt x="670" y="81"/>
                  </a:cubicBezTo>
                  <a:cubicBezTo>
                    <a:pt x="670" y="82"/>
                    <a:pt x="668" y="83"/>
                    <a:pt x="667" y="83"/>
                  </a:cubicBezTo>
                  <a:cubicBezTo>
                    <a:pt x="673" y="83"/>
                    <a:pt x="676" y="84"/>
                    <a:pt x="680" y="83"/>
                  </a:cubicBezTo>
                  <a:cubicBezTo>
                    <a:pt x="679" y="84"/>
                    <a:pt x="677" y="85"/>
                    <a:pt x="676" y="86"/>
                  </a:cubicBezTo>
                  <a:cubicBezTo>
                    <a:pt x="679" y="87"/>
                    <a:pt x="681" y="86"/>
                    <a:pt x="684" y="86"/>
                  </a:cubicBezTo>
                  <a:cubicBezTo>
                    <a:pt x="685" y="87"/>
                    <a:pt x="685" y="88"/>
                    <a:pt x="687" y="86"/>
                  </a:cubicBezTo>
                  <a:cubicBezTo>
                    <a:pt x="689" y="88"/>
                    <a:pt x="686" y="88"/>
                    <a:pt x="690" y="86"/>
                  </a:cubicBezTo>
                  <a:cubicBezTo>
                    <a:pt x="691" y="88"/>
                    <a:pt x="689" y="88"/>
                    <a:pt x="694" y="86"/>
                  </a:cubicBezTo>
                  <a:cubicBezTo>
                    <a:pt x="693" y="89"/>
                    <a:pt x="694" y="87"/>
                    <a:pt x="696" y="86"/>
                  </a:cubicBezTo>
                  <a:cubicBezTo>
                    <a:pt x="700" y="89"/>
                    <a:pt x="704" y="90"/>
                    <a:pt x="708" y="85"/>
                  </a:cubicBezTo>
                  <a:cubicBezTo>
                    <a:pt x="707" y="86"/>
                    <a:pt x="708" y="86"/>
                    <a:pt x="709" y="86"/>
                  </a:cubicBezTo>
                  <a:cubicBezTo>
                    <a:pt x="709" y="86"/>
                    <a:pt x="706" y="90"/>
                    <a:pt x="706" y="90"/>
                  </a:cubicBezTo>
                  <a:cubicBezTo>
                    <a:pt x="713" y="91"/>
                    <a:pt x="720" y="91"/>
                    <a:pt x="724" y="87"/>
                  </a:cubicBezTo>
                  <a:cubicBezTo>
                    <a:pt x="726" y="87"/>
                    <a:pt x="726" y="88"/>
                    <a:pt x="729" y="88"/>
                  </a:cubicBezTo>
                  <a:cubicBezTo>
                    <a:pt x="729" y="87"/>
                    <a:pt x="729" y="87"/>
                    <a:pt x="729" y="86"/>
                  </a:cubicBezTo>
                  <a:cubicBezTo>
                    <a:pt x="729" y="86"/>
                    <a:pt x="724" y="86"/>
                    <a:pt x="725" y="86"/>
                  </a:cubicBezTo>
                  <a:cubicBezTo>
                    <a:pt x="733" y="85"/>
                    <a:pt x="730" y="82"/>
                    <a:pt x="730" y="82"/>
                  </a:cubicBezTo>
                  <a:cubicBezTo>
                    <a:pt x="730" y="76"/>
                    <a:pt x="703" y="76"/>
                    <a:pt x="701" y="79"/>
                  </a:cubicBezTo>
                  <a:cubicBezTo>
                    <a:pt x="699" y="79"/>
                    <a:pt x="697" y="78"/>
                    <a:pt x="695" y="79"/>
                  </a:cubicBezTo>
                  <a:cubicBezTo>
                    <a:pt x="695" y="78"/>
                    <a:pt x="697" y="78"/>
                    <a:pt x="695" y="76"/>
                  </a:cubicBezTo>
                  <a:cubicBezTo>
                    <a:pt x="691" y="77"/>
                    <a:pt x="692" y="76"/>
                    <a:pt x="690" y="75"/>
                  </a:cubicBezTo>
                  <a:cubicBezTo>
                    <a:pt x="687" y="75"/>
                    <a:pt x="687" y="76"/>
                    <a:pt x="685" y="77"/>
                  </a:cubicBezTo>
                  <a:cubicBezTo>
                    <a:pt x="685" y="77"/>
                    <a:pt x="686" y="74"/>
                    <a:pt x="687" y="74"/>
                  </a:cubicBezTo>
                  <a:cubicBezTo>
                    <a:pt x="686" y="73"/>
                    <a:pt x="685" y="73"/>
                    <a:pt x="684" y="74"/>
                  </a:cubicBezTo>
                  <a:cubicBezTo>
                    <a:pt x="685" y="73"/>
                    <a:pt x="686" y="73"/>
                    <a:pt x="687" y="72"/>
                  </a:cubicBezTo>
                  <a:cubicBezTo>
                    <a:pt x="686" y="72"/>
                    <a:pt x="683" y="72"/>
                    <a:pt x="682" y="72"/>
                  </a:cubicBezTo>
                  <a:cubicBezTo>
                    <a:pt x="683" y="72"/>
                    <a:pt x="682" y="71"/>
                    <a:pt x="679" y="72"/>
                  </a:cubicBezTo>
                  <a:cubicBezTo>
                    <a:pt x="682" y="71"/>
                    <a:pt x="686" y="68"/>
                    <a:pt x="683" y="69"/>
                  </a:cubicBezTo>
                  <a:cubicBezTo>
                    <a:pt x="684" y="69"/>
                    <a:pt x="683" y="68"/>
                    <a:pt x="682" y="68"/>
                  </a:cubicBezTo>
                  <a:cubicBezTo>
                    <a:pt x="685" y="69"/>
                    <a:pt x="689" y="70"/>
                    <a:pt x="693" y="69"/>
                  </a:cubicBezTo>
                  <a:cubicBezTo>
                    <a:pt x="691" y="68"/>
                    <a:pt x="688" y="66"/>
                    <a:pt x="686" y="65"/>
                  </a:cubicBezTo>
                  <a:cubicBezTo>
                    <a:pt x="687" y="65"/>
                    <a:pt x="690" y="66"/>
                    <a:pt x="691" y="66"/>
                  </a:cubicBezTo>
                  <a:cubicBezTo>
                    <a:pt x="686" y="63"/>
                    <a:pt x="680" y="63"/>
                    <a:pt x="674" y="65"/>
                  </a:cubicBezTo>
                  <a:cubicBezTo>
                    <a:pt x="678" y="64"/>
                    <a:pt x="679" y="61"/>
                    <a:pt x="681" y="60"/>
                  </a:cubicBezTo>
                  <a:close/>
                  <a:moveTo>
                    <a:pt x="626" y="98"/>
                  </a:moveTo>
                  <a:cubicBezTo>
                    <a:pt x="638" y="103"/>
                    <a:pt x="648" y="95"/>
                    <a:pt x="660" y="91"/>
                  </a:cubicBezTo>
                  <a:cubicBezTo>
                    <a:pt x="653" y="88"/>
                    <a:pt x="635" y="82"/>
                    <a:pt x="634" y="90"/>
                  </a:cubicBezTo>
                  <a:cubicBezTo>
                    <a:pt x="626" y="88"/>
                    <a:pt x="618" y="97"/>
                    <a:pt x="613" y="103"/>
                  </a:cubicBezTo>
                  <a:cubicBezTo>
                    <a:pt x="617" y="103"/>
                    <a:pt x="613" y="103"/>
                    <a:pt x="611" y="104"/>
                  </a:cubicBezTo>
                  <a:cubicBezTo>
                    <a:pt x="618" y="105"/>
                    <a:pt x="624" y="103"/>
                    <a:pt x="628" y="99"/>
                  </a:cubicBezTo>
                  <a:cubicBezTo>
                    <a:pt x="624" y="99"/>
                    <a:pt x="625" y="97"/>
                    <a:pt x="626" y="98"/>
                  </a:cubicBezTo>
                  <a:close/>
                  <a:moveTo>
                    <a:pt x="579" y="129"/>
                  </a:moveTo>
                  <a:cubicBezTo>
                    <a:pt x="576" y="128"/>
                    <a:pt x="577" y="128"/>
                    <a:pt x="573" y="125"/>
                  </a:cubicBezTo>
                  <a:cubicBezTo>
                    <a:pt x="573" y="124"/>
                    <a:pt x="575" y="123"/>
                    <a:pt x="575" y="121"/>
                  </a:cubicBezTo>
                  <a:cubicBezTo>
                    <a:pt x="567" y="125"/>
                    <a:pt x="566" y="126"/>
                    <a:pt x="555" y="128"/>
                  </a:cubicBezTo>
                  <a:cubicBezTo>
                    <a:pt x="560" y="130"/>
                    <a:pt x="567" y="137"/>
                    <a:pt x="579" y="132"/>
                  </a:cubicBezTo>
                  <a:cubicBezTo>
                    <a:pt x="574" y="133"/>
                    <a:pt x="579" y="131"/>
                    <a:pt x="579" y="129"/>
                  </a:cubicBezTo>
                  <a:close/>
                  <a:moveTo>
                    <a:pt x="581" y="82"/>
                  </a:moveTo>
                  <a:cubicBezTo>
                    <a:pt x="575" y="80"/>
                    <a:pt x="570" y="80"/>
                    <a:pt x="565" y="83"/>
                  </a:cubicBezTo>
                  <a:cubicBezTo>
                    <a:pt x="565" y="84"/>
                    <a:pt x="567" y="89"/>
                    <a:pt x="567" y="90"/>
                  </a:cubicBezTo>
                  <a:cubicBezTo>
                    <a:pt x="573" y="89"/>
                    <a:pt x="579" y="86"/>
                    <a:pt x="581" y="82"/>
                  </a:cubicBezTo>
                  <a:close/>
                  <a:moveTo>
                    <a:pt x="594" y="103"/>
                  </a:moveTo>
                  <a:cubicBezTo>
                    <a:pt x="595" y="108"/>
                    <a:pt x="605" y="106"/>
                    <a:pt x="605" y="103"/>
                  </a:cubicBezTo>
                  <a:cubicBezTo>
                    <a:pt x="606" y="102"/>
                    <a:pt x="608" y="102"/>
                    <a:pt x="609" y="101"/>
                  </a:cubicBezTo>
                  <a:cubicBezTo>
                    <a:pt x="612" y="100"/>
                    <a:pt x="613" y="99"/>
                    <a:pt x="614" y="97"/>
                  </a:cubicBezTo>
                  <a:cubicBezTo>
                    <a:pt x="613" y="97"/>
                    <a:pt x="612" y="97"/>
                    <a:pt x="610" y="98"/>
                  </a:cubicBezTo>
                  <a:cubicBezTo>
                    <a:pt x="611" y="97"/>
                    <a:pt x="611" y="95"/>
                    <a:pt x="610" y="95"/>
                  </a:cubicBezTo>
                  <a:cubicBezTo>
                    <a:pt x="614" y="96"/>
                    <a:pt x="608" y="93"/>
                    <a:pt x="605" y="94"/>
                  </a:cubicBezTo>
                  <a:cubicBezTo>
                    <a:pt x="610" y="93"/>
                    <a:pt x="617" y="89"/>
                    <a:pt x="617" y="89"/>
                  </a:cubicBezTo>
                  <a:cubicBezTo>
                    <a:pt x="619" y="88"/>
                    <a:pt x="620" y="89"/>
                    <a:pt x="623" y="88"/>
                  </a:cubicBezTo>
                  <a:cubicBezTo>
                    <a:pt x="622" y="87"/>
                    <a:pt x="622" y="87"/>
                    <a:pt x="623" y="87"/>
                  </a:cubicBezTo>
                  <a:cubicBezTo>
                    <a:pt x="617" y="86"/>
                    <a:pt x="606" y="83"/>
                    <a:pt x="608" y="84"/>
                  </a:cubicBezTo>
                  <a:cubicBezTo>
                    <a:pt x="604" y="85"/>
                    <a:pt x="600" y="83"/>
                    <a:pt x="601" y="88"/>
                  </a:cubicBezTo>
                  <a:cubicBezTo>
                    <a:pt x="600" y="88"/>
                    <a:pt x="600" y="88"/>
                    <a:pt x="600" y="89"/>
                  </a:cubicBezTo>
                  <a:cubicBezTo>
                    <a:pt x="597" y="88"/>
                    <a:pt x="600" y="86"/>
                    <a:pt x="595" y="87"/>
                  </a:cubicBezTo>
                  <a:cubicBezTo>
                    <a:pt x="597" y="88"/>
                    <a:pt x="596" y="89"/>
                    <a:pt x="600" y="90"/>
                  </a:cubicBezTo>
                  <a:cubicBezTo>
                    <a:pt x="600" y="90"/>
                    <a:pt x="601" y="92"/>
                    <a:pt x="601" y="92"/>
                  </a:cubicBezTo>
                  <a:cubicBezTo>
                    <a:pt x="596" y="94"/>
                    <a:pt x="590" y="96"/>
                    <a:pt x="589" y="91"/>
                  </a:cubicBezTo>
                  <a:cubicBezTo>
                    <a:pt x="582" y="90"/>
                    <a:pt x="580" y="92"/>
                    <a:pt x="578" y="97"/>
                  </a:cubicBezTo>
                  <a:cubicBezTo>
                    <a:pt x="586" y="99"/>
                    <a:pt x="584" y="118"/>
                    <a:pt x="594" y="103"/>
                  </a:cubicBezTo>
                  <a:close/>
                  <a:moveTo>
                    <a:pt x="661" y="34"/>
                  </a:moveTo>
                  <a:cubicBezTo>
                    <a:pt x="661" y="34"/>
                    <a:pt x="654" y="37"/>
                    <a:pt x="652" y="38"/>
                  </a:cubicBezTo>
                  <a:cubicBezTo>
                    <a:pt x="655" y="38"/>
                    <a:pt x="659" y="38"/>
                    <a:pt x="663" y="38"/>
                  </a:cubicBezTo>
                  <a:cubicBezTo>
                    <a:pt x="663" y="38"/>
                    <a:pt x="661" y="40"/>
                    <a:pt x="660" y="40"/>
                  </a:cubicBezTo>
                  <a:cubicBezTo>
                    <a:pt x="661" y="41"/>
                    <a:pt x="665" y="41"/>
                    <a:pt x="666" y="42"/>
                  </a:cubicBezTo>
                  <a:cubicBezTo>
                    <a:pt x="665" y="44"/>
                    <a:pt x="663" y="44"/>
                    <a:pt x="662" y="46"/>
                  </a:cubicBezTo>
                  <a:cubicBezTo>
                    <a:pt x="669" y="48"/>
                    <a:pt x="686" y="39"/>
                    <a:pt x="678" y="35"/>
                  </a:cubicBezTo>
                  <a:cubicBezTo>
                    <a:pt x="679" y="33"/>
                    <a:pt x="682" y="34"/>
                    <a:pt x="681" y="31"/>
                  </a:cubicBezTo>
                  <a:cubicBezTo>
                    <a:pt x="679" y="32"/>
                    <a:pt x="675" y="32"/>
                    <a:pt x="673" y="32"/>
                  </a:cubicBezTo>
                  <a:cubicBezTo>
                    <a:pt x="679" y="24"/>
                    <a:pt x="666" y="25"/>
                    <a:pt x="661" y="29"/>
                  </a:cubicBezTo>
                  <a:cubicBezTo>
                    <a:pt x="661" y="30"/>
                    <a:pt x="665" y="30"/>
                    <a:pt x="665" y="30"/>
                  </a:cubicBezTo>
                  <a:cubicBezTo>
                    <a:pt x="663" y="30"/>
                    <a:pt x="660" y="31"/>
                    <a:pt x="659" y="32"/>
                  </a:cubicBezTo>
                  <a:cubicBezTo>
                    <a:pt x="662" y="31"/>
                    <a:pt x="664" y="31"/>
                    <a:pt x="666" y="31"/>
                  </a:cubicBezTo>
                  <a:cubicBezTo>
                    <a:pt x="660" y="33"/>
                    <a:pt x="663" y="32"/>
                    <a:pt x="666" y="34"/>
                  </a:cubicBezTo>
                  <a:cubicBezTo>
                    <a:pt x="664" y="34"/>
                    <a:pt x="663" y="35"/>
                    <a:pt x="661" y="34"/>
                  </a:cubicBezTo>
                  <a:close/>
                  <a:moveTo>
                    <a:pt x="628" y="69"/>
                  </a:moveTo>
                  <a:cubicBezTo>
                    <a:pt x="632" y="69"/>
                    <a:pt x="624" y="69"/>
                    <a:pt x="623" y="69"/>
                  </a:cubicBezTo>
                  <a:cubicBezTo>
                    <a:pt x="623" y="70"/>
                    <a:pt x="623" y="70"/>
                    <a:pt x="623" y="70"/>
                  </a:cubicBezTo>
                  <a:cubicBezTo>
                    <a:pt x="623" y="70"/>
                    <a:pt x="624" y="71"/>
                    <a:pt x="625" y="71"/>
                  </a:cubicBezTo>
                  <a:cubicBezTo>
                    <a:pt x="624" y="71"/>
                    <a:pt x="624" y="71"/>
                    <a:pt x="625" y="71"/>
                  </a:cubicBezTo>
                  <a:cubicBezTo>
                    <a:pt x="623" y="72"/>
                    <a:pt x="623" y="71"/>
                    <a:pt x="622" y="73"/>
                  </a:cubicBezTo>
                  <a:cubicBezTo>
                    <a:pt x="624" y="74"/>
                    <a:pt x="625" y="73"/>
                    <a:pt x="628" y="73"/>
                  </a:cubicBezTo>
                  <a:cubicBezTo>
                    <a:pt x="627" y="73"/>
                    <a:pt x="635" y="74"/>
                    <a:pt x="636" y="74"/>
                  </a:cubicBezTo>
                  <a:cubicBezTo>
                    <a:pt x="636" y="74"/>
                    <a:pt x="637" y="73"/>
                    <a:pt x="638" y="72"/>
                  </a:cubicBezTo>
                  <a:cubicBezTo>
                    <a:pt x="637" y="72"/>
                    <a:pt x="636" y="72"/>
                    <a:pt x="636" y="72"/>
                  </a:cubicBezTo>
                  <a:cubicBezTo>
                    <a:pt x="641" y="70"/>
                    <a:pt x="642" y="69"/>
                    <a:pt x="643" y="68"/>
                  </a:cubicBezTo>
                  <a:cubicBezTo>
                    <a:pt x="648" y="67"/>
                    <a:pt x="651" y="64"/>
                    <a:pt x="656" y="61"/>
                  </a:cubicBezTo>
                  <a:cubicBezTo>
                    <a:pt x="653" y="59"/>
                    <a:pt x="655" y="60"/>
                    <a:pt x="655" y="58"/>
                  </a:cubicBezTo>
                  <a:cubicBezTo>
                    <a:pt x="653" y="59"/>
                    <a:pt x="650" y="59"/>
                    <a:pt x="647" y="61"/>
                  </a:cubicBezTo>
                  <a:cubicBezTo>
                    <a:pt x="650" y="58"/>
                    <a:pt x="648" y="58"/>
                    <a:pt x="646" y="57"/>
                  </a:cubicBezTo>
                  <a:cubicBezTo>
                    <a:pt x="642" y="56"/>
                    <a:pt x="638" y="58"/>
                    <a:pt x="640" y="62"/>
                  </a:cubicBezTo>
                  <a:cubicBezTo>
                    <a:pt x="640" y="62"/>
                    <a:pt x="637" y="61"/>
                    <a:pt x="637" y="62"/>
                  </a:cubicBezTo>
                  <a:cubicBezTo>
                    <a:pt x="638" y="63"/>
                    <a:pt x="637" y="63"/>
                    <a:pt x="638" y="65"/>
                  </a:cubicBezTo>
                  <a:cubicBezTo>
                    <a:pt x="637" y="65"/>
                    <a:pt x="636" y="65"/>
                    <a:pt x="635" y="65"/>
                  </a:cubicBezTo>
                  <a:cubicBezTo>
                    <a:pt x="635" y="58"/>
                    <a:pt x="635" y="61"/>
                    <a:pt x="632" y="61"/>
                  </a:cubicBezTo>
                  <a:cubicBezTo>
                    <a:pt x="632" y="61"/>
                    <a:pt x="632" y="61"/>
                    <a:pt x="632" y="61"/>
                  </a:cubicBezTo>
                  <a:cubicBezTo>
                    <a:pt x="628" y="64"/>
                    <a:pt x="628" y="62"/>
                    <a:pt x="626" y="66"/>
                  </a:cubicBezTo>
                  <a:cubicBezTo>
                    <a:pt x="624" y="65"/>
                    <a:pt x="622" y="66"/>
                    <a:pt x="618" y="66"/>
                  </a:cubicBezTo>
                  <a:cubicBezTo>
                    <a:pt x="624" y="67"/>
                    <a:pt x="631" y="67"/>
                    <a:pt x="637" y="68"/>
                  </a:cubicBezTo>
                  <a:cubicBezTo>
                    <a:pt x="634" y="68"/>
                    <a:pt x="631" y="69"/>
                    <a:pt x="628" y="69"/>
                  </a:cubicBezTo>
                  <a:close/>
                  <a:moveTo>
                    <a:pt x="558" y="117"/>
                  </a:moveTo>
                  <a:cubicBezTo>
                    <a:pt x="553" y="114"/>
                    <a:pt x="556" y="114"/>
                    <a:pt x="553" y="110"/>
                  </a:cubicBezTo>
                  <a:cubicBezTo>
                    <a:pt x="537" y="107"/>
                    <a:pt x="567" y="97"/>
                    <a:pt x="565" y="88"/>
                  </a:cubicBezTo>
                  <a:cubicBezTo>
                    <a:pt x="563" y="74"/>
                    <a:pt x="543" y="95"/>
                    <a:pt x="539" y="98"/>
                  </a:cubicBezTo>
                  <a:cubicBezTo>
                    <a:pt x="541" y="97"/>
                    <a:pt x="537" y="100"/>
                    <a:pt x="534" y="100"/>
                  </a:cubicBezTo>
                  <a:cubicBezTo>
                    <a:pt x="537" y="97"/>
                    <a:pt x="538" y="94"/>
                    <a:pt x="542" y="91"/>
                  </a:cubicBezTo>
                  <a:cubicBezTo>
                    <a:pt x="542" y="91"/>
                    <a:pt x="543" y="88"/>
                    <a:pt x="543" y="86"/>
                  </a:cubicBezTo>
                  <a:cubicBezTo>
                    <a:pt x="543" y="86"/>
                    <a:pt x="538" y="86"/>
                    <a:pt x="538" y="86"/>
                  </a:cubicBezTo>
                  <a:cubicBezTo>
                    <a:pt x="538" y="86"/>
                    <a:pt x="540" y="88"/>
                    <a:pt x="539" y="88"/>
                  </a:cubicBezTo>
                  <a:cubicBezTo>
                    <a:pt x="538" y="89"/>
                    <a:pt x="538" y="89"/>
                    <a:pt x="537" y="89"/>
                  </a:cubicBezTo>
                  <a:cubicBezTo>
                    <a:pt x="537" y="89"/>
                    <a:pt x="537" y="89"/>
                    <a:pt x="537" y="90"/>
                  </a:cubicBezTo>
                  <a:cubicBezTo>
                    <a:pt x="535" y="90"/>
                    <a:pt x="534" y="90"/>
                    <a:pt x="532" y="90"/>
                  </a:cubicBezTo>
                  <a:cubicBezTo>
                    <a:pt x="532" y="90"/>
                    <a:pt x="532" y="89"/>
                    <a:pt x="533" y="89"/>
                  </a:cubicBezTo>
                  <a:cubicBezTo>
                    <a:pt x="529" y="90"/>
                    <a:pt x="526" y="89"/>
                    <a:pt x="521" y="89"/>
                  </a:cubicBezTo>
                  <a:cubicBezTo>
                    <a:pt x="526" y="89"/>
                    <a:pt x="529" y="87"/>
                    <a:pt x="532" y="86"/>
                  </a:cubicBezTo>
                  <a:cubicBezTo>
                    <a:pt x="525" y="81"/>
                    <a:pt x="520" y="84"/>
                    <a:pt x="512" y="85"/>
                  </a:cubicBezTo>
                  <a:cubicBezTo>
                    <a:pt x="519" y="83"/>
                    <a:pt x="525" y="82"/>
                    <a:pt x="519" y="79"/>
                  </a:cubicBezTo>
                  <a:cubicBezTo>
                    <a:pt x="508" y="79"/>
                    <a:pt x="496" y="81"/>
                    <a:pt x="486" y="85"/>
                  </a:cubicBezTo>
                  <a:cubicBezTo>
                    <a:pt x="487" y="85"/>
                    <a:pt x="487" y="85"/>
                    <a:pt x="488" y="85"/>
                  </a:cubicBezTo>
                  <a:cubicBezTo>
                    <a:pt x="483" y="86"/>
                    <a:pt x="479" y="89"/>
                    <a:pt x="475" y="90"/>
                  </a:cubicBezTo>
                  <a:cubicBezTo>
                    <a:pt x="477" y="91"/>
                    <a:pt x="477" y="91"/>
                    <a:pt x="481" y="91"/>
                  </a:cubicBezTo>
                  <a:cubicBezTo>
                    <a:pt x="479" y="91"/>
                    <a:pt x="478" y="92"/>
                    <a:pt x="476" y="92"/>
                  </a:cubicBezTo>
                  <a:cubicBezTo>
                    <a:pt x="478" y="92"/>
                    <a:pt x="480" y="93"/>
                    <a:pt x="480" y="93"/>
                  </a:cubicBezTo>
                  <a:cubicBezTo>
                    <a:pt x="485" y="93"/>
                    <a:pt x="490" y="93"/>
                    <a:pt x="494" y="94"/>
                  </a:cubicBezTo>
                  <a:cubicBezTo>
                    <a:pt x="492" y="94"/>
                    <a:pt x="490" y="94"/>
                    <a:pt x="487" y="94"/>
                  </a:cubicBezTo>
                  <a:cubicBezTo>
                    <a:pt x="486" y="95"/>
                    <a:pt x="472" y="94"/>
                    <a:pt x="468" y="101"/>
                  </a:cubicBezTo>
                  <a:cubicBezTo>
                    <a:pt x="480" y="102"/>
                    <a:pt x="494" y="101"/>
                    <a:pt x="500" y="108"/>
                  </a:cubicBezTo>
                  <a:cubicBezTo>
                    <a:pt x="499" y="108"/>
                    <a:pt x="499" y="109"/>
                    <a:pt x="500" y="109"/>
                  </a:cubicBezTo>
                  <a:cubicBezTo>
                    <a:pt x="490" y="108"/>
                    <a:pt x="476" y="101"/>
                    <a:pt x="467" y="105"/>
                  </a:cubicBezTo>
                  <a:cubicBezTo>
                    <a:pt x="453" y="110"/>
                    <a:pt x="465" y="115"/>
                    <a:pt x="474" y="117"/>
                  </a:cubicBezTo>
                  <a:cubicBezTo>
                    <a:pt x="469" y="119"/>
                    <a:pt x="469" y="121"/>
                    <a:pt x="467" y="123"/>
                  </a:cubicBezTo>
                  <a:cubicBezTo>
                    <a:pt x="483" y="124"/>
                    <a:pt x="502" y="124"/>
                    <a:pt x="517" y="119"/>
                  </a:cubicBezTo>
                  <a:cubicBezTo>
                    <a:pt x="517" y="119"/>
                    <a:pt x="517" y="120"/>
                    <a:pt x="518" y="120"/>
                  </a:cubicBezTo>
                  <a:cubicBezTo>
                    <a:pt x="518" y="120"/>
                    <a:pt x="515" y="121"/>
                    <a:pt x="515" y="122"/>
                  </a:cubicBezTo>
                  <a:cubicBezTo>
                    <a:pt x="517" y="122"/>
                    <a:pt x="520" y="122"/>
                    <a:pt x="522" y="123"/>
                  </a:cubicBezTo>
                  <a:cubicBezTo>
                    <a:pt x="521" y="124"/>
                    <a:pt x="519" y="124"/>
                    <a:pt x="518" y="125"/>
                  </a:cubicBezTo>
                  <a:cubicBezTo>
                    <a:pt x="527" y="126"/>
                    <a:pt x="540" y="129"/>
                    <a:pt x="544" y="122"/>
                  </a:cubicBezTo>
                  <a:cubicBezTo>
                    <a:pt x="541" y="122"/>
                    <a:pt x="538" y="122"/>
                    <a:pt x="534" y="123"/>
                  </a:cubicBezTo>
                  <a:cubicBezTo>
                    <a:pt x="535" y="123"/>
                    <a:pt x="538" y="121"/>
                    <a:pt x="537" y="121"/>
                  </a:cubicBezTo>
                  <a:cubicBezTo>
                    <a:pt x="537" y="120"/>
                    <a:pt x="536" y="121"/>
                    <a:pt x="539" y="119"/>
                  </a:cubicBezTo>
                  <a:cubicBezTo>
                    <a:pt x="542" y="121"/>
                    <a:pt x="544" y="119"/>
                    <a:pt x="549" y="118"/>
                  </a:cubicBezTo>
                  <a:cubicBezTo>
                    <a:pt x="547" y="120"/>
                    <a:pt x="547" y="120"/>
                    <a:pt x="547" y="121"/>
                  </a:cubicBezTo>
                  <a:cubicBezTo>
                    <a:pt x="548" y="121"/>
                    <a:pt x="551" y="120"/>
                    <a:pt x="552" y="119"/>
                  </a:cubicBezTo>
                  <a:cubicBezTo>
                    <a:pt x="551" y="119"/>
                    <a:pt x="551" y="121"/>
                    <a:pt x="551" y="121"/>
                  </a:cubicBezTo>
                  <a:cubicBezTo>
                    <a:pt x="554" y="120"/>
                    <a:pt x="555" y="119"/>
                    <a:pt x="558" y="117"/>
                  </a:cubicBezTo>
                  <a:close/>
                  <a:moveTo>
                    <a:pt x="584" y="61"/>
                  </a:moveTo>
                  <a:cubicBezTo>
                    <a:pt x="582" y="62"/>
                    <a:pt x="577" y="61"/>
                    <a:pt x="573" y="61"/>
                  </a:cubicBezTo>
                  <a:cubicBezTo>
                    <a:pt x="574" y="59"/>
                    <a:pt x="575" y="59"/>
                    <a:pt x="577" y="57"/>
                  </a:cubicBezTo>
                  <a:cubicBezTo>
                    <a:pt x="577" y="57"/>
                    <a:pt x="572" y="57"/>
                    <a:pt x="572" y="57"/>
                  </a:cubicBezTo>
                  <a:cubicBezTo>
                    <a:pt x="575" y="54"/>
                    <a:pt x="575" y="55"/>
                    <a:pt x="577" y="53"/>
                  </a:cubicBezTo>
                  <a:cubicBezTo>
                    <a:pt x="575" y="51"/>
                    <a:pt x="574" y="52"/>
                    <a:pt x="570" y="51"/>
                  </a:cubicBezTo>
                  <a:cubicBezTo>
                    <a:pt x="570" y="50"/>
                    <a:pt x="574" y="50"/>
                    <a:pt x="573" y="49"/>
                  </a:cubicBezTo>
                  <a:cubicBezTo>
                    <a:pt x="570" y="49"/>
                    <a:pt x="566" y="48"/>
                    <a:pt x="563" y="49"/>
                  </a:cubicBezTo>
                  <a:cubicBezTo>
                    <a:pt x="563" y="49"/>
                    <a:pt x="565" y="51"/>
                    <a:pt x="565" y="51"/>
                  </a:cubicBezTo>
                  <a:cubicBezTo>
                    <a:pt x="560" y="50"/>
                    <a:pt x="558" y="51"/>
                    <a:pt x="553" y="52"/>
                  </a:cubicBezTo>
                  <a:cubicBezTo>
                    <a:pt x="555" y="52"/>
                    <a:pt x="559" y="53"/>
                    <a:pt x="561" y="53"/>
                  </a:cubicBezTo>
                  <a:cubicBezTo>
                    <a:pt x="555" y="53"/>
                    <a:pt x="551" y="54"/>
                    <a:pt x="545" y="55"/>
                  </a:cubicBezTo>
                  <a:cubicBezTo>
                    <a:pt x="548" y="56"/>
                    <a:pt x="551" y="56"/>
                    <a:pt x="554" y="57"/>
                  </a:cubicBezTo>
                  <a:cubicBezTo>
                    <a:pt x="547" y="56"/>
                    <a:pt x="540" y="57"/>
                    <a:pt x="536" y="59"/>
                  </a:cubicBezTo>
                  <a:cubicBezTo>
                    <a:pt x="541" y="62"/>
                    <a:pt x="542" y="62"/>
                    <a:pt x="547" y="62"/>
                  </a:cubicBezTo>
                  <a:cubicBezTo>
                    <a:pt x="548" y="63"/>
                    <a:pt x="552" y="63"/>
                    <a:pt x="557" y="61"/>
                  </a:cubicBezTo>
                  <a:cubicBezTo>
                    <a:pt x="552" y="66"/>
                    <a:pt x="564" y="64"/>
                    <a:pt x="569" y="64"/>
                  </a:cubicBezTo>
                  <a:cubicBezTo>
                    <a:pt x="561" y="65"/>
                    <a:pt x="550" y="63"/>
                    <a:pt x="544" y="68"/>
                  </a:cubicBezTo>
                  <a:cubicBezTo>
                    <a:pt x="556" y="73"/>
                    <a:pt x="575" y="67"/>
                    <a:pt x="584" y="67"/>
                  </a:cubicBezTo>
                  <a:cubicBezTo>
                    <a:pt x="590" y="71"/>
                    <a:pt x="601" y="66"/>
                    <a:pt x="609" y="61"/>
                  </a:cubicBezTo>
                  <a:cubicBezTo>
                    <a:pt x="604" y="61"/>
                    <a:pt x="604" y="59"/>
                    <a:pt x="599" y="62"/>
                  </a:cubicBezTo>
                  <a:cubicBezTo>
                    <a:pt x="598" y="62"/>
                    <a:pt x="600" y="60"/>
                    <a:pt x="600" y="60"/>
                  </a:cubicBezTo>
                  <a:cubicBezTo>
                    <a:pt x="599" y="60"/>
                    <a:pt x="593" y="61"/>
                    <a:pt x="592" y="61"/>
                  </a:cubicBezTo>
                  <a:cubicBezTo>
                    <a:pt x="594" y="60"/>
                    <a:pt x="597" y="58"/>
                    <a:pt x="599" y="58"/>
                  </a:cubicBezTo>
                  <a:cubicBezTo>
                    <a:pt x="599" y="58"/>
                    <a:pt x="596" y="57"/>
                    <a:pt x="595" y="57"/>
                  </a:cubicBezTo>
                  <a:cubicBezTo>
                    <a:pt x="599" y="55"/>
                    <a:pt x="600" y="53"/>
                    <a:pt x="604" y="50"/>
                  </a:cubicBezTo>
                  <a:cubicBezTo>
                    <a:pt x="603" y="50"/>
                    <a:pt x="603" y="50"/>
                    <a:pt x="604" y="49"/>
                  </a:cubicBezTo>
                  <a:cubicBezTo>
                    <a:pt x="594" y="49"/>
                    <a:pt x="590" y="54"/>
                    <a:pt x="585" y="58"/>
                  </a:cubicBezTo>
                  <a:cubicBezTo>
                    <a:pt x="587" y="60"/>
                    <a:pt x="586" y="60"/>
                    <a:pt x="584" y="61"/>
                  </a:cubicBezTo>
                  <a:close/>
                  <a:moveTo>
                    <a:pt x="538" y="46"/>
                  </a:moveTo>
                  <a:cubicBezTo>
                    <a:pt x="537" y="47"/>
                    <a:pt x="535" y="48"/>
                    <a:pt x="534" y="49"/>
                  </a:cubicBezTo>
                  <a:cubicBezTo>
                    <a:pt x="538" y="48"/>
                    <a:pt x="542" y="48"/>
                    <a:pt x="546" y="46"/>
                  </a:cubicBezTo>
                  <a:cubicBezTo>
                    <a:pt x="546" y="46"/>
                    <a:pt x="544" y="48"/>
                    <a:pt x="545" y="48"/>
                  </a:cubicBezTo>
                  <a:cubicBezTo>
                    <a:pt x="551" y="44"/>
                    <a:pt x="556" y="42"/>
                    <a:pt x="563" y="41"/>
                  </a:cubicBezTo>
                  <a:cubicBezTo>
                    <a:pt x="559" y="43"/>
                    <a:pt x="556" y="47"/>
                    <a:pt x="554" y="48"/>
                  </a:cubicBezTo>
                  <a:cubicBezTo>
                    <a:pt x="566" y="46"/>
                    <a:pt x="578" y="42"/>
                    <a:pt x="583" y="35"/>
                  </a:cubicBezTo>
                  <a:cubicBezTo>
                    <a:pt x="572" y="40"/>
                    <a:pt x="544" y="39"/>
                    <a:pt x="526" y="44"/>
                  </a:cubicBezTo>
                  <a:cubicBezTo>
                    <a:pt x="527" y="44"/>
                    <a:pt x="528" y="44"/>
                    <a:pt x="528" y="44"/>
                  </a:cubicBezTo>
                  <a:cubicBezTo>
                    <a:pt x="527" y="46"/>
                    <a:pt x="527" y="45"/>
                    <a:pt x="524" y="46"/>
                  </a:cubicBezTo>
                  <a:cubicBezTo>
                    <a:pt x="531" y="46"/>
                    <a:pt x="531" y="47"/>
                    <a:pt x="538" y="46"/>
                  </a:cubicBezTo>
                  <a:close/>
                  <a:moveTo>
                    <a:pt x="704" y="106"/>
                  </a:moveTo>
                  <a:cubicBezTo>
                    <a:pt x="706" y="108"/>
                    <a:pt x="707" y="107"/>
                    <a:pt x="709" y="108"/>
                  </a:cubicBezTo>
                  <a:cubicBezTo>
                    <a:pt x="715" y="108"/>
                    <a:pt x="722" y="108"/>
                    <a:pt x="728" y="108"/>
                  </a:cubicBezTo>
                  <a:cubicBezTo>
                    <a:pt x="728" y="101"/>
                    <a:pt x="713" y="94"/>
                    <a:pt x="705" y="102"/>
                  </a:cubicBezTo>
                  <a:cubicBezTo>
                    <a:pt x="705" y="102"/>
                    <a:pt x="707" y="103"/>
                    <a:pt x="708" y="103"/>
                  </a:cubicBezTo>
                  <a:cubicBezTo>
                    <a:pt x="707" y="104"/>
                    <a:pt x="704" y="105"/>
                    <a:pt x="704" y="106"/>
                  </a:cubicBezTo>
                  <a:close/>
                  <a:moveTo>
                    <a:pt x="1118" y="244"/>
                  </a:moveTo>
                  <a:cubicBezTo>
                    <a:pt x="1118" y="244"/>
                    <a:pt x="1118" y="244"/>
                    <a:pt x="1119" y="245"/>
                  </a:cubicBezTo>
                  <a:cubicBezTo>
                    <a:pt x="1116" y="246"/>
                    <a:pt x="1115" y="248"/>
                    <a:pt x="1116" y="250"/>
                  </a:cubicBezTo>
                  <a:cubicBezTo>
                    <a:pt x="1115" y="252"/>
                    <a:pt x="1112" y="253"/>
                    <a:pt x="1115" y="253"/>
                  </a:cubicBezTo>
                  <a:cubicBezTo>
                    <a:pt x="1116" y="249"/>
                    <a:pt x="1117" y="249"/>
                    <a:pt x="1119" y="247"/>
                  </a:cubicBezTo>
                  <a:cubicBezTo>
                    <a:pt x="1116" y="250"/>
                    <a:pt x="1120" y="249"/>
                    <a:pt x="1122" y="249"/>
                  </a:cubicBezTo>
                  <a:cubicBezTo>
                    <a:pt x="1120" y="251"/>
                    <a:pt x="1119" y="254"/>
                    <a:pt x="1120" y="257"/>
                  </a:cubicBezTo>
                  <a:cubicBezTo>
                    <a:pt x="1121" y="257"/>
                    <a:pt x="1123" y="257"/>
                    <a:pt x="1122" y="255"/>
                  </a:cubicBezTo>
                  <a:cubicBezTo>
                    <a:pt x="1126" y="256"/>
                    <a:pt x="1129" y="256"/>
                    <a:pt x="1133" y="255"/>
                  </a:cubicBezTo>
                  <a:cubicBezTo>
                    <a:pt x="1132" y="256"/>
                    <a:pt x="1129" y="255"/>
                    <a:pt x="1128" y="258"/>
                  </a:cubicBezTo>
                  <a:cubicBezTo>
                    <a:pt x="1132" y="260"/>
                    <a:pt x="1130" y="260"/>
                    <a:pt x="1134" y="260"/>
                  </a:cubicBezTo>
                  <a:cubicBezTo>
                    <a:pt x="1131" y="263"/>
                    <a:pt x="1133" y="262"/>
                    <a:pt x="1135" y="265"/>
                  </a:cubicBezTo>
                  <a:cubicBezTo>
                    <a:pt x="1133" y="265"/>
                    <a:pt x="1130" y="264"/>
                    <a:pt x="1133" y="266"/>
                  </a:cubicBezTo>
                  <a:cubicBezTo>
                    <a:pt x="1128" y="265"/>
                    <a:pt x="1124" y="265"/>
                    <a:pt x="1120" y="268"/>
                  </a:cubicBezTo>
                  <a:cubicBezTo>
                    <a:pt x="1121" y="268"/>
                    <a:pt x="1123" y="268"/>
                    <a:pt x="1125" y="267"/>
                  </a:cubicBezTo>
                  <a:cubicBezTo>
                    <a:pt x="1125" y="269"/>
                    <a:pt x="1125" y="269"/>
                    <a:pt x="1126" y="270"/>
                  </a:cubicBezTo>
                  <a:cubicBezTo>
                    <a:pt x="1122" y="272"/>
                    <a:pt x="1119" y="273"/>
                    <a:pt x="1116" y="274"/>
                  </a:cubicBezTo>
                  <a:cubicBezTo>
                    <a:pt x="1117" y="274"/>
                    <a:pt x="1118" y="274"/>
                    <a:pt x="1116" y="275"/>
                  </a:cubicBezTo>
                  <a:cubicBezTo>
                    <a:pt x="1118" y="275"/>
                    <a:pt x="1118" y="275"/>
                    <a:pt x="1118" y="275"/>
                  </a:cubicBezTo>
                  <a:cubicBezTo>
                    <a:pt x="1118" y="275"/>
                    <a:pt x="1123" y="275"/>
                    <a:pt x="1125" y="275"/>
                  </a:cubicBezTo>
                  <a:cubicBezTo>
                    <a:pt x="1125" y="276"/>
                    <a:pt x="1131" y="277"/>
                    <a:pt x="1137" y="275"/>
                  </a:cubicBezTo>
                  <a:cubicBezTo>
                    <a:pt x="1128" y="278"/>
                    <a:pt x="1120" y="280"/>
                    <a:pt x="1112" y="285"/>
                  </a:cubicBezTo>
                  <a:cubicBezTo>
                    <a:pt x="1125" y="282"/>
                    <a:pt x="1151" y="286"/>
                    <a:pt x="1166" y="277"/>
                  </a:cubicBezTo>
                  <a:cubicBezTo>
                    <a:pt x="1166" y="277"/>
                    <a:pt x="1166" y="277"/>
                    <a:pt x="1166" y="276"/>
                  </a:cubicBezTo>
                  <a:cubicBezTo>
                    <a:pt x="1164" y="277"/>
                    <a:pt x="1162" y="277"/>
                    <a:pt x="1160" y="276"/>
                  </a:cubicBezTo>
                  <a:cubicBezTo>
                    <a:pt x="1162" y="275"/>
                    <a:pt x="1159" y="276"/>
                    <a:pt x="1158" y="276"/>
                  </a:cubicBezTo>
                  <a:cubicBezTo>
                    <a:pt x="1160" y="276"/>
                    <a:pt x="1164" y="275"/>
                    <a:pt x="1161" y="274"/>
                  </a:cubicBezTo>
                  <a:cubicBezTo>
                    <a:pt x="1163" y="274"/>
                    <a:pt x="1166" y="274"/>
                    <a:pt x="1163" y="273"/>
                  </a:cubicBezTo>
                  <a:cubicBezTo>
                    <a:pt x="1171" y="267"/>
                    <a:pt x="1161" y="265"/>
                    <a:pt x="1154" y="267"/>
                  </a:cubicBezTo>
                  <a:cubicBezTo>
                    <a:pt x="1157" y="263"/>
                    <a:pt x="1154" y="262"/>
                    <a:pt x="1149" y="262"/>
                  </a:cubicBezTo>
                  <a:cubicBezTo>
                    <a:pt x="1151" y="262"/>
                    <a:pt x="1153" y="262"/>
                    <a:pt x="1155" y="263"/>
                  </a:cubicBezTo>
                  <a:cubicBezTo>
                    <a:pt x="1153" y="262"/>
                    <a:pt x="1151" y="261"/>
                    <a:pt x="1153" y="260"/>
                  </a:cubicBezTo>
                  <a:cubicBezTo>
                    <a:pt x="1144" y="257"/>
                    <a:pt x="1141" y="249"/>
                    <a:pt x="1132" y="248"/>
                  </a:cubicBezTo>
                  <a:cubicBezTo>
                    <a:pt x="1133" y="248"/>
                    <a:pt x="1134" y="248"/>
                    <a:pt x="1135" y="247"/>
                  </a:cubicBezTo>
                  <a:cubicBezTo>
                    <a:pt x="1133" y="247"/>
                    <a:pt x="1133" y="246"/>
                    <a:pt x="1131" y="246"/>
                  </a:cubicBezTo>
                  <a:cubicBezTo>
                    <a:pt x="1137" y="244"/>
                    <a:pt x="1137" y="242"/>
                    <a:pt x="1141" y="239"/>
                  </a:cubicBezTo>
                  <a:cubicBezTo>
                    <a:pt x="1133" y="239"/>
                    <a:pt x="1127" y="240"/>
                    <a:pt x="1128" y="238"/>
                  </a:cubicBezTo>
                  <a:cubicBezTo>
                    <a:pt x="1127" y="238"/>
                    <a:pt x="1126" y="238"/>
                    <a:pt x="1126" y="238"/>
                  </a:cubicBezTo>
                  <a:cubicBezTo>
                    <a:pt x="1128" y="237"/>
                    <a:pt x="1130" y="235"/>
                    <a:pt x="1132" y="234"/>
                  </a:cubicBezTo>
                  <a:cubicBezTo>
                    <a:pt x="1131" y="234"/>
                    <a:pt x="1132" y="233"/>
                    <a:pt x="1132" y="233"/>
                  </a:cubicBezTo>
                  <a:cubicBezTo>
                    <a:pt x="1129" y="233"/>
                    <a:pt x="1124" y="233"/>
                    <a:pt x="1122" y="234"/>
                  </a:cubicBezTo>
                  <a:cubicBezTo>
                    <a:pt x="1120" y="233"/>
                    <a:pt x="1119" y="234"/>
                    <a:pt x="1117" y="236"/>
                  </a:cubicBezTo>
                  <a:cubicBezTo>
                    <a:pt x="1118" y="237"/>
                    <a:pt x="1119" y="237"/>
                    <a:pt x="1119" y="238"/>
                  </a:cubicBezTo>
                  <a:cubicBezTo>
                    <a:pt x="1116" y="237"/>
                    <a:pt x="1114" y="237"/>
                    <a:pt x="1117" y="239"/>
                  </a:cubicBezTo>
                  <a:cubicBezTo>
                    <a:pt x="1116" y="240"/>
                    <a:pt x="1115" y="240"/>
                    <a:pt x="1114" y="239"/>
                  </a:cubicBezTo>
                  <a:cubicBezTo>
                    <a:pt x="1114" y="240"/>
                    <a:pt x="1115" y="241"/>
                    <a:pt x="1116" y="241"/>
                  </a:cubicBezTo>
                  <a:cubicBezTo>
                    <a:pt x="1115" y="241"/>
                    <a:pt x="1116" y="241"/>
                    <a:pt x="1117" y="241"/>
                  </a:cubicBezTo>
                  <a:cubicBezTo>
                    <a:pt x="1116" y="241"/>
                    <a:pt x="1116" y="241"/>
                    <a:pt x="1117" y="241"/>
                  </a:cubicBezTo>
                  <a:cubicBezTo>
                    <a:pt x="1116" y="241"/>
                    <a:pt x="1115" y="241"/>
                    <a:pt x="1116" y="242"/>
                  </a:cubicBezTo>
                  <a:cubicBezTo>
                    <a:pt x="1114" y="243"/>
                    <a:pt x="1113" y="244"/>
                    <a:pt x="1113" y="245"/>
                  </a:cubicBezTo>
                  <a:cubicBezTo>
                    <a:pt x="1115" y="246"/>
                    <a:pt x="1116" y="245"/>
                    <a:pt x="1118" y="244"/>
                  </a:cubicBezTo>
                  <a:close/>
                  <a:moveTo>
                    <a:pt x="1106" y="253"/>
                  </a:moveTo>
                  <a:cubicBezTo>
                    <a:pt x="1105" y="253"/>
                    <a:pt x="1104" y="253"/>
                    <a:pt x="1103" y="252"/>
                  </a:cubicBezTo>
                  <a:cubicBezTo>
                    <a:pt x="1102" y="254"/>
                    <a:pt x="1101" y="254"/>
                    <a:pt x="1101" y="253"/>
                  </a:cubicBezTo>
                  <a:cubicBezTo>
                    <a:pt x="1095" y="254"/>
                    <a:pt x="1094" y="255"/>
                    <a:pt x="1095" y="257"/>
                  </a:cubicBezTo>
                  <a:cubicBezTo>
                    <a:pt x="1096" y="257"/>
                    <a:pt x="1097" y="256"/>
                    <a:pt x="1098" y="257"/>
                  </a:cubicBezTo>
                  <a:cubicBezTo>
                    <a:pt x="1096" y="257"/>
                    <a:pt x="1094" y="258"/>
                    <a:pt x="1094" y="258"/>
                  </a:cubicBezTo>
                  <a:cubicBezTo>
                    <a:pt x="1090" y="258"/>
                    <a:pt x="1086" y="258"/>
                    <a:pt x="1083" y="259"/>
                  </a:cubicBezTo>
                  <a:cubicBezTo>
                    <a:pt x="1087" y="260"/>
                    <a:pt x="1083" y="259"/>
                    <a:pt x="1082" y="260"/>
                  </a:cubicBezTo>
                  <a:cubicBezTo>
                    <a:pt x="1084" y="260"/>
                    <a:pt x="1085" y="261"/>
                    <a:pt x="1086" y="261"/>
                  </a:cubicBezTo>
                  <a:cubicBezTo>
                    <a:pt x="1083" y="262"/>
                    <a:pt x="1084" y="263"/>
                    <a:pt x="1082" y="263"/>
                  </a:cubicBezTo>
                  <a:cubicBezTo>
                    <a:pt x="1083" y="264"/>
                    <a:pt x="1083" y="264"/>
                    <a:pt x="1084" y="264"/>
                  </a:cubicBezTo>
                  <a:cubicBezTo>
                    <a:pt x="1084" y="264"/>
                    <a:pt x="1084" y="264"/>
                    <a:pt x="1084" y="264"/>
                  </a:cubicBezTo>
                  <a:cubicBezTo>
                    <a:pt x="1086" y="265"/>
                    <a:pt x="1087" y="265"/>
                    <a:pt x="1090" y="265"/>
                  </a:cubicBezTo>
                  <a:cubicBezTo>
                    <a:pt x="1088" y="265"/>
                    <a:pt x="1087" y="266"/>
                    <a:pt x="1086" y="267"/>
                  </a:cubicBezTo>
                  <a:cubicBezTo>
                    <a:pt x="1087" y="267"/>
                    <a:pt x="1087" y="267"/>
                    <a:pt x="1087" y="267"/>
                  </a:cubicBezTo>
                  <a:cubicBezTo>
                    <a:pt x="1085" y="268"/>
                    <a:pt x="1084" y="268"/>
                    <a:pt x="1082" y="269"/>
                  </a:cubicBezTo>
                  <a:cubicBezTo>
                    <a:pt x="1085" y="268"/>
                    <a:pt x="1088" y="268"/>
                    <a:pt x="1091" y="268"/>
                  </a:cubicBezTo>
                  <a:cubicBezTo>
                    <a:pt x="1087" y="268"/>
                    <a:pt x="1083" y="269"/>
                    <a:pt x="1083" y="271"/>
                  </a:cubicBezTo>
                  <a:cubicBezTo>
                    <a:pt x="1081" y="271"/>
                    <a:pt x="1080" y="270"/>
                    <a:pt x="1078" y="271"/>
                  </a:cubicBezTo>
                  <a:cubicBezTo>
                    <a:pt x="1079" y="271"/>
                    <a:pt x="1081" y="271"/>
                    <a:pt x="1083" y="271"/>
                  </a:cubicBezTo>
                  <a:cubicBezTo>
                    <a:pt x="1081" y="272"/>
                    <a:pt x="1080" y="272"/>
                    <a:pt x="1078" y="273"/>
                  </a:cubicBezTo>
                  <a:cubicBezTo>
                    <a:pt x="1080" y="274"/>
                    <a:pt x="1082" y="273"/>
                    <a:pt x="1084" y="273"/>
                  </a:cubicBezTo>
                  <a:cubicBezTo>
                    <a:pt x="1082" y="273"/>
                    <a:pt x="1081" y="274"/>
                    <a:pt x="1080" y="275"/>
                  </a:cubicBezTo>
                  <a:cubicBezTo>
                    <a:pt x="1081" y="274"/>
                    <a:pt x="1088" y="273"/>
                    <a:pt x="1082" y="275"/>
                  </a:cubicBezTo>
                  <a:cubicBezTo>
                    <a:pt x="1092" y="276"/>
                    <a:pt x="1097" y="272"/>
                    <a:pt x="1108" y="272"/>
                  </a:cubicBezTo>
                  <a:cubicBezTo>
                    <a:pt x="1109" y="268"/>
                    <a:pt x="1111" y="266"/>
                    <a:pt x="1109" y="261"/>
                  </a:cubicBezTo>
                  <a:cubicBezTo>
                    <a:pt x="1110" y="261"/>
                    <a:pt x="1112" y="261"/>
                    <a:pt x="1113" y="260"/>
                  </a:cubicBezTo>
                  <a:cubicBezTo>
                    <a:pt x="1114" y="258"/>
                    <a:pt x="1114" y="257"/>
                    <a:pt x="1116" y="259"/>
                  </a:cubicBezTo>
                  <a:cubicBezTo>
                    <a:pt x="1116" y="257"/>
                    <a:pt x="1115" y="256"/>
                    <a:pt x="1113" y="257"/>
                  </a:cubicBezTo>
                  <a:cubicBezTo>
                    <a:pt x="1112" y="253"/>
                    <a:pt x="1108" y="253"/>
                    <a:pt x="1103" y="254"/>
                  </a:cubicBezTo>
                  <a:cubicBezTo>
                    <a:pt x="1104" y="254"/>
                    <a:pt x="1105" y="253"/>
                    <a:pt x="1106" y="253"/>
                  </a:cubicBezTo>
                  <a:close/>
                  <a:moveTo>
                    <a:pt x="712" y="45"/>
                  </a:moveTo>
                  <a:cubicBezTo>
                    <a:pt x="710" y="44"/>
                    <a:pt x="709" y="44"/>
                    <a:pt x="708" y="43"/>
                  </a:cubicBezTo>
                  <a:cubicBezTo>
                    <a:pt x="709" y="40"/>
                    <a:pt x="710" y="42"/>
                    <a:pt x="711" y="42"/>
                  </a:cubicBezTo>
                  <a:cubicBezTo>
                    <a:pt x="712" y="39"/>
                    <a:pt x="716" y="38"/>
                    <a:pt x="721" y="39"/>
                  </a:cubicBezTo>
                  <a:cubicBezTo>
                    <a:pt x="723" y="39"/>
                    <a:pt x="726" y="39"/>
                    <a:pt x="729" y="39"/>
                  </a:cubicBezTo>
                  <a:cubicBezTo>
                    <a:pt x="726" y="38"/>
                    <a:pt x="724" y="38"/>
                    <a:pt x="721" y="38"/>
                  </a:cubicBezTo>
                  <a:cubicBezTo>
                    <a:pt x="723" y="36"/>
                    <a:pt x="721" y="37"/>
                    <a:pt x="719" y="36"/>
                  </a:cubicBezTo>
                  <a:cubicBezTo>
                    <a:pt x="722" y="36"/>
                    <a:pt x="715" y="36"/>
                    <a:pt x="715" y="36"/>
                  </a:cubicBezTo>
                  <a:cubicBezTo>
                    <a:pt x="715" y="36"/>
                    <a:pt x="717" y="35"/>
                    <a:pt x="717" y="35"/>
                  </a:cubicBezTo>
                  <a:cubicBezTo>
                    <a:pt x="716" y="35"/>
                    <a:pt x="713" y="35"/>
                    <a:pt x="712" y="35"/>
                  </a:cubicBezTo>
                  <a:cubicBezTo>
                    <a:pt x="715" y="34"/>
                    <a:pt x="717" y="32"/>
                    <a:pt x="722" y="32"/>
                  </a:cubicBezTo>
                  <a:cubicBezTo>
                    <a:pt x="721" y="31"/>
                    <a:pt x="717" y="31"/>
                    <a:pt x="716" y="31"/>
                  </a:cubicBezTo>
                  <a:cubicBezTo>
                    <a:pt x="718" y="26"/>
                    <a:pt x="723" y="26"/>
                    <a:pt x="728" y="26"/>
                  </a:cubicBezTo>
                  <a:cubicBezTo>
                    <a:pt x="727" y="26"/>
                    <a:pt x="727" y="26"/>
                    <a:pt x="726" y="25"/>
                  </a:cubicBezTo>
                  <a:cubicBezTo>
                    <a:pt x="726" y="24"/>
                    <a:pt x="725" y="22"/>
                    <a:pt x="724" y="22"/>
                  </a:cubicBezTo>
                  <a:cubicBezTo>
                    <a:pt x="731" y="23"/>
                    <a:pt x="730" y="21"/>
                    <a:pt x="737" y="22"/>
                  </a:cubicBezTo>
                  <a:cubicBezTo>
                    <a:pt x="737" y="21"/>
                    <a:pt x="737" y="21"/>
                    <a:pt x="738" y="20"/>
                  </a:cubicBezTo>
                  <a:cubicBezTo>
                    <a:pt x="737" y="20"/>
                    <a:pt x="736" y="20"/>
                    <a:pt x="735" y="19"/>
                  </a:cubicBezTo>
                  <a:cubicBezTo>
                    <a:pt x="739" y="17"/>
                    <a:pt x="740" y="18"/>
                    <a:pt x="744" y="17"/>
                  </a:cubicBezTo>
                  <a:cubicBezTo>
                    <a:pt x="741" y="17"/>
                    <a:pt x="749" y="16"/>
                    <a:pt x="750" y="15"/>
                  </a:cubicBezTo>
                  <a:cubicBezTo>
                    <a:pt x="748" y="15"/>
                    <a:pt x="746" y="15"/>
                    <a:pt x="743" y="14"/>
                  </a:cubicBezTo>
                  <a:cubicBezTo>
                    <a:pt x="759" y="8"/>
                    <a:pt x="747" y="24"/>
                    <a:pt x="756" y="26"/>
                  </a:cubicBezTo>
                  <a:cubicBezTo>
                    <a:pt x="755" y="27"/>
                    <a:pt x="753" y="27"/>
                    <a:pt x="753" y="29"/>
                  </a:cubicBezTo>
                  <a:cubicBezTo>
                    <a:pt x="753" y="29"/>
                    <a:pt x="754" y="30"/>
                    <a:pt x="753" y="30"/>
                  </a:cubicBezTo>
                  <a:cubicBezTo>
                    <a:pt x="755" y="29"/>
                    <a:pt x="758" y="28"/>
                    <a:pt x="760" y="26"/>
                  </a:cubicBezTo>
                  <a:cubicBezTo>
                    <a:pt x="760" y="27"/>
                    <a:pt x="760" y="27"/>
                    <a:pt x="760" y="27"/>
                  </a:cubicBezTo>
                  <a:cubicBezTo>
                    <a:pt x="759" y="30"/>
                    <a:pt x="757" y="29"/>
                    <a:pt x="755" y="30"/>
                  </a:cubicBezTo>
                  <a:cubicBezTo>
                    <a:pt x="755" y="31"/>
                    <a:pt x="758" y="30"/>
                    <a:pt x="758" y="31"/>
                  </a:cubicBezTo>
                  <a:cubicBezTo>
                    <a:pt x="754" y="34"/>
                    <a:pt x="751" y="35"/>
                    <a:pt x="746" y="36"/>
                  </a:cubicBezTo>
                  <a:cubicBezTo>
                    <a:pt x="749" y="36"/>
                    <a:pt x="751" y="35"/>
                    <a:pt x="754" y="36"/>
                  </a:cubicBezTo>
                  <a:cubicBezTo>
                    <a:pt x="754" y="36"/>
                    <a:pt x="751" y="38"/>
                    <a:pt x="751" y="39"/>
                  </a:cubicBezTo>
                  <a:cubicBezTo>
                    <a:pt x="752" y="39"/>
                    <a:pt x="754" y="36"/>
                    <a:pt x="755" y="37"/>
                  </a:cubicBezTo>
                  <a:cubicBezTo>
                    <a:pt x="754" y="40"/>
                    <a:pt x="752" y="42"/>
                    <a:pt x="748" y="43"/>
                  </a:cubicBezTo>
                  <a:cubicBezTo>
                    <a:pt x="748" y="43"/>
                    <a:pt x="748" y="43"/>
                    <a:pt x="748" y="44"/>
                  </a:cubicBezTo>
                  <a:cubicBezTo>
                    <a:pt x="741" y="45"/>
                    <a:pt x="744" y="44"/>
                    <a:pt x="745" y="44"/>
                  </a:cubicBezTo>
                  <a:cubicBezTo>
                    <a:pt x="743" y="44"/>
                    <a:pt x="742" y="44"/>
                    <a:pt x="741" y="44"/>
                  </a:cubicBezTo>
                  <a:cubicBezTo>
                    <a:pt x="741" y="44"/>
                    <a:pt x="742" y="42"/>
                    <a:pt x="742" y="42"/>
                  </a:cubicBezTo>
                  <a:cubicBezTo>
                    <a:pt x="739" y="44"/>
                    <a:pt x="735" y="45"/>
                    <a:pt x="733" y="47"/>
                  </a:cubicBezTo>
                  <a:cubicBezTo>
                    <a:pt x="733" y="47"/>
                    <a:pt x="732" y="46"/>
                    <a:pt x="732" y="46"/>
                  </a:cubicBezTo>
                  <a:cubicBezTo>
                    <a:pt x="734" y="45"/>
                    <a:pt x="735" y="43"/>
                    <a:pt x="736" y="42"/>
                  </a:cubicBezTo>
                  <a:cubicBezTo>
                    <a:pt x="733" y="45"/>
                    <a:pt x="729" y="45"/>
                    <a:pt x="731" y="48"/>
                  </a:cubicBezTo>
                  <a:cubicBezTo>
                    <a:pt x="730" y="48"/>
                    <a:pt x="727" y="49"/>
                    <a:pt x="727" y="49"/>
                  </a:cubicBezTo>
                  <a:cubicBezTo>
                    <a:pt x="727" y="49"/>
                    <a:pt x="728" y="47"/>
                    <a:pt x="727" y="47"/>
                  </a:cubicBezTo>
                  <a:cubicBezTo>
                    <a:pt x="725" y="49"/>
                    <a:pt x="723" y="50"/>
                    <a:pt x="720" y="51"/>
                  </a:cubicBezTo>
                  <a:cubicBezTo>
                    <a:pt x="720" y="48"/>
                    <a:pt x="722" y="48"/>
                    <a:pt x="723" y="45"/>
                  </a:cubicBezTo>
                  <a:cubicBezTo>
                    <a:pt x="722" y="47"/>
                    <a:pt x="719" y="49"/>
                    <a:pt x="717" y="51"/>
                  </a:cubicBezTo>
                  <a:cubicBezTo>
                    <a:pt x="715" y="51"/>
                    <a:pt x="709" y="48"/>
                    <a:pt x="708" y="46"/>
                  </a:cubicBezTo>
                  <a:cubicBezTo>
                    <a:pt x="705" y="44"/>
                    <a:pt x="709" y="44"/>
                    <a:pt x="712" y="45"/>
                  </a:cubicBezTo>
                  <a:close/>
                  <a:moveTo>
                    <a:pt x="721" y="39"/>
                  </a:moveTo>
                  <a:cubicBezTo>
                    <a:pt x="722" y="39"/>
                    <a:pt x="724" y="40"/>
                    <a:pt x="725" y="40"/>
                  </a:cubicBezTo>
                  <a:cubicBezTo>
                    <a:pt x="726" y="40"/>
                    <a:pt x="727" y="40"/>
                    <a:pt x="729" y="40"/>
                  </a:cubicBezTo>
                  <a:cubicBezTo>
                    <a:pt x="726" y="40"/>
                    <a:pt x="724" y="39"/>
                    <a:pt x="721" y="39"/>
                  </a:cubicBezTo>
                  <a:close/>
                  <a:moveTo>
                    <a:pt x="698" y="66"/>
                  </a:moveTo>
                  <a:cubicBezTo>
                    <a:pt x="705" y="61"/>
                    <a:pt x="722" y="63"/>
                    <a:pt x="719" y="62"/>
                  </a:cubicBezTo>
                  <a:cubicBezTo>
                    <a:pt x="721" y="61"/>
                    <a:pt x="721" y="61"/>
                    <a:pt x="720" y="60"/>
                  </a:cubicBezTo>
                  <a:cubicBezTo>
                    <a:pt x="721" y="60"/>
                    <a:pt x="721" y="60"/>
                    <a:pt x="721" y="60"/>
                  </a:cubicBezTo>
                  <a:cubicBezTo>
                    <a:pt x="716" y="56"/>
                    <a:pt x="725" y="52"/>
                    <a:pt x="728" y="60"/>
                  </a:cubicBezTo>
                  <a:cubicBezTo>
                    <a:pt x="736" y="64"/>
                    <a:pt x="743" y="62"/>
                    <a:pt x="751" y="56"/>
                  </a:cubicBezTo>
                  <a:cubicBezTo>
                    <a:pt x="746" y="59"/>
                    <a:pt x="740" y="61"/>
                    <a:pt x="734" y="60"/>
                  </a:cubicBezTo>
                  <a:cubicBezTo>
                    <a:pt x="735" y="59"/>
                    <a:pt x="737" y="59"/>
                    <a:pt x="737" y="58"/>
                  </a:cubicBezTo>
                  <a:cubicBezTo>
                    <a:pt x="734" y="59"/>
                    <a:pt x="732" y="60"/>
                    <a:pt x="735" y="57"/>
                  </a:cubicBezTo>
                  <a:cubicBezTo>
                    <a:pt x="733" y="56"/>
                    <a:pt x="736" y="56"/>
                    <a:pt x="737" y="56"/>
                  </a:cubicBezTo>
                  <a:cubicBezTo>
                    <a:pt x="736" y="56"/>
                    <a:pt x="734" y="56"/>
                    <a:pt x="733" y="56"/>
                  </a:cubicBezTo>
                  <a:cubicBezTo>
                    <a:pt x="735" y="55"/>
                    <a:pt x="738" y="55"/>
                    <a:pt x="740" y="55"/>
                  </a:cubicBezTo>
                  <a:cubicBezTo>
                    <a:pt x="736" y="55"/>
                    <a:pt x="740" y="54"/>
                    <a:pt x="741" y="54"/>
                  </a:cubicBezTo>
                  <a:cubicBezTo>
                    <a:pt x="742" y="53"/>
                    <a:pt x="744" y="51"/>
                    <a:pt x="746" y="50"/>
                  </a:cubicBezTo>
                  <a:cubicBezTo>
                    <a:pt x="741" y="52"/>
                    <a:pt x="737" y="53"/>
                    <a:pt x="733" y="54"/>
                  </a:cubicBezTo>
                  <a:cubicBezTo>
                    <a:pt x="732" y="54"/>
                    <a:pt x="736" y="52"/>
                    <a:pt x="736" y="52"/>
                  </a:cubicBezTo>
                  <a:cubicBezTo>
                    <a:pt x="732" y="53"/>
                    <a:pt x="731" y="53"/>
                    <a:pt x="727" y="53"/>
                  </a:cubicBezTo>
                  <a:cubicBezTo>
                    <a:pt x="733" y="48"/>
                    <a:pt x="749" y="42"/>
                    <a:pt x="759" y="50"/>
                  </a:cubicBezTo>
                  <a:cubicBezTo>
                    <a:pt x="759" y="49"/>
                    <a:pt x="760" y="49"/>
                    <a:pt x="760" y="49"/>
                  </a:cubicBezTo>
                  <a:cubicBezTo>
                    <a:pt x="760" y="48"/>
                    <a:pt x="759" y="48"/>
                    <a:pt x="759" y="48"/>
                  </a:cubicBezTo>
                  <a:cubicBezTo>
                    <a:pt x="763" y="47"/>
                    <a:pt x="763" y="48"/>
                    <a:pt x="766" y="46"/>
                  </a:cubicBezTo>
                  <a:cubicBezTo>
                    <a:pt x="759" y="47"/>
                    <a:pt x="757" y="46"/>
                    <a:pt x="752" y="43"/>
                  </a:cubicBezTo>
                  <a:cubicBezTo>
                    <a:pt x="756" y="44"/>
                    <a:pt x="754" y="44"/>
                    <a:pt x="757" y="43"/>
                  </a:cubicBezTo>
                  <a:cubicBezTo>
                    <a:pt x="757" y="42"/>
                    <a:pt x="757" y="38"/>
                    <a:pt x="757" y="35"/>
                  </a:cubicBezTo>
                  <a:cubicBezTo>
                    <a:pt x="759" y="34"/>
                    <a:pt x="761" y="35"/>
                    <a:pt x="762" y="34"/>
                  </a:cubicBezTo>
                  <a:cubicBezTo>
                    <a:pt x="762" y="34"/>
                    <a:pt x="760" y="33"/>
                    <a:pt x="759" y="33"/>
                  </a:cubicBezTo>
                  <a:cubicBezTo>
                    <a:pt x="768" y="25"/>
                    <a:pt x="773" y="32"/>
                    <a:pt x="778" y="36"/>
                  </a:cubicBezTo>
                  <a:cubicBezTo>
                    <a:pt x="781" y="28"/>
                    <a:pt x="794" y="32"/>
                    <a:pt x="803" y="33"/>
                  </a:cubicBezTo>
                  <a:cubicBezTo>
                    <a:pt x="802" y="32"/>
                    <a:pt x="799" y="32"/>
                    <a:pt x="798" y="31"/>
                  </a:cubicBezTo>
                  <a:cubicBezTo>
                    <a:pt x="804" y="30"/>
                    <a:pt x="810" y="30"/>
                    <a:pt x="817" y="31"/>
                  </a:cubicBezTo>
                  <a:cubicBezTo>
                    <a:pt x="813" y="31"/>
                    <a:pt x="811" y="29"/>
                    <a:pt x="806" y="29"/>
                  </a:cubicBezTo>
                  <a:cubicBezTo>
                    <a:pt x="811" y="27"/>
                    <a:pt x="817" y="25"/>
                    <a:pt x="822" y="24"/>
                  </a:cubicBezTo>
                  <a:cubicBezTo>
                    <a:pt x="815" y="25"/>
                    <a:pt x="811" y="26"/>
                    <a:pt x="805" y="28"/>
                  </a:cubicBezTo>
                  <a:cubicBezTo>
                    <a:pt x="801" y="30"/>
                    <a:pt x="790" y="31"/>
                    <a:pt x="784" y="29"/>
                  </a:cubicBezTo>
                  <a:cubicBezTo>
                    <a:pt x="787" y="28"/>
                    <a:pt x="790" y="27"/>
                    <a:pt x="793" y="27"/>
                  </a:cubicBezTo>
                  <a:cubicBezTo>
                    <a:pt x="790" y="27"/>
                    <a:pt x="783" y="29"/>
                    <a:pt x="787" y="26"/>
                  </a:cubicBezTo>
                  <a:cubicBezTo>
                    <a:pt x="781" y="29"/>
                    <a:pt x="774" y="29"/>
                    <a:pt x="769" y="26"/>
                  </a:cubicBezTo>
                  <a:cubicBezTo>
                    <a:pt x="770" y="25"/>
                    <a:pt x="772" y="25"/>
                    <a:pt x="774" y="24"/>
                  </a:cubicBezTo>
                  <a:cubicBezTo>
                    <a:pt x="768" y="24"/>
                    <a:pt x="763" y="24"/>
                    <a:pt x="761" y="20"/>
                  </a:cubicBezTo>
                  <a:cubicBezTo>
                    <a:pt x="769" y="21"/>
                    <a:pt x="780" y="22"/>
                    <a:pt x="788" y="19"/>
                  </a:cubicBezTo>
                  <a:cubicBezTo>
                    <a:pt x="779" y="21"/>
                    <a:pt x="770" y="21"/>
                    <a:pt x="762" y="19"/>
                  </a:cubicBezTo>
                  <a:cubicBezTo>
                    <a:pt x="765" y="16"/>
                    <a:pt x="766" y="18"/>
                    <a:pt x="769" y="17"/>
                  </a:cubicBezTo>
                  <a:cubicBezTo>
                    <a:pt x="769" y="17"/>
                    <a:pt x="769" y="17"/>
                    <a:pt x="769" y="17"/>
                  </a:cubicBezTo>
                  <a:cubicBezTo>
                    <a:pt x="770" y="17"/>
                    <a:pt x="774" y="15"/>
                    <a:pt x="778" y="14"/>
                  </a:cubicBezTo>
                  <a:cubicBezTo>
                    <a:pt x="774" y="15"/>
                    <a:pt x="769" y="15"/>
                    <a:pt x="766" y="15"/>
                  </a:cubicBezTo>
                  <a:cubicBezTo>
                    <a:pt x="766" y="15"/>
                    <a:pt x="766" y="15"/>
                    <a:pt x="766" y="14"/>
                  </a:cubicBezTo>
                  <a:cubicBezTo>
                    <a:pt x="768" y="13"/>
                    <a:pt x="771" y="13"/>
                    <a:pt x="773" y="13"/>
                  </a:cubicBezTo>
                  <a:cubicBezTo>
                    <a:pt x="770" y="13"/>
                    <a:pt x="768" y="11"/>
                    <a:pt x="763" y="13"/>
                  </a:cubicBezTo>
                  <a:cubicBezTo>
                    <a:pt x="764" y="13"/>
                    <a:pt x="764" y="12"/>
                    <a:pt x="763" y="11"/>
                  </a:cubicBezTo>
                  <a:cubicBezTo>
                    <a:pt x="767" y="10"/>
                    <a:pt x="774" y="8"/>
                    <a:pt x="779" y="9"/>
                  </a:cubicBezTo>
                  <a:cubicBezTo>
                    <a:pt x="779" y="9"/>
                    <a:pt x="777" y="11"/>
                    <a:pt x="778" y="11"/>
                  </a:cubicBezTo>
                  <a:cubicBezTo>
                    <a:pt x="780" y="9"/>
                    <a:pt x="780" y="10"/>
                    <a:pt x="781" y="11"/>
                  </a:cubicBezTo>
                  <a:cubicBezTo>
                    <a:pt x="786" y="10"/>
                    <a:pt x="785" y="6"/>
                    <a:pt x="788" y="12"/>
                  </a:cubicBezTo>
                  <a:cubicBezTo>
                    <a:pt x="792" y="10"/>
                    <a:pt x="789" y="10"/>
                    <a:pt x="793" y="13"/>
                  </a:cubicBezTo>
                  <a:cubicBezTo>
                    <a:pt x="796" y="13"/>
                    <a:pt x="795" y="11"/>
                    <a:pt x="797" y="13"/>
                  </a:cubicBezTo>
                  <a:cubicBezTo>
                    <a:pt x="797" y="12"/>
                    <a:pt x="796" y="10"/>
                    <a:pt x="794" y="8"/>
                  </a:cubicBezTo>
                  <a:cubicBezTo>
                    <a:pt x="799" y="6"/>
                    <a:pt x="801" y="5"/>
                    <a:pt x="806" y="5"/>
                  </a:cubicBezTo>
                  <a:cubicBezTo>
                    <a:pt x="806" y="7"/>
                    <a:pt x="806" y="7"/>
                    <a:pt x="807" y="10"/>
                  </a:cubicBezTo>
                  <a:cubicBezTo>
                    <a:pt x="811" y="9"/>
                    <a:pt x="815" y="9"/>
                    <a:pt x="818" y="7"/>
                  </a:cubicBezTo>
                  <a:cubicBezTo>
                    <a:pt x="818" y="7"/>
                    <a:pt x="816" y="5"/>
                    <a:pt x="816" y="5"/>
                  </a:cubicBezTo>
                  <a:cubicBezTo>
                    <a:pt x="817" y="5"/>
                    <a:pt x="817" y="4"/>
                    <a:pt x="817" y="4"/>
                  </a:cubicBezTo>
                  <a:cubicBezTo>
                    <a:pt x="819" y="6"/>
                    <a:pt x="820" y="5"/>
                    <a:pt x="822" y="9"/>
                  </a:cubicBezTo>
                  <a:cubicBezTo>
                    <a:pt x="824" y="0"/>
                    <a:pt x="824" y="5"/>
                    <a:pt x="827" y="7"/>
                  </a:cubicBezTo>
                  <a:cubicBezTo>
                    <a:pt x="828" y="7"/>
                    <a:pt x="832" y="6"/>
                    <a:pt x="833" y="7"/>
                  </a:cubicBezTo>
                  <a:cubicBezTo>
                    <a:pt x="829" y="5"/>
                    <a:pt x="832" y="4"/>
                    <a:pt x="832" y="3"/>
                  </a:cubicBezTo>
                  <a:cubicBezTo>
                    <a:pt x="832" y="3"/>
                    <a:pt x="833" y="1"/>
                    <a:pt x="835" y="4"/>
                  </a:cubicBezTo>
                  <a:cubicBezTo>
                    <a:pt x="840" y="4"/>
                    <a:pt x="838" y="3"/>
                    <a:pt x="843" y="4"/>
                  </a:cubicBezTo>
                  <a:cubicBezTo>
                    <a:pt x="842" y="5"/>
                    <a:pt x="841" y="6"/>
                    <a:pt x="841" y="7"/>
                  </a:cubicBezTo>
                  <a:cubicBezTo>
                    <a:pt x="845" y="2"/>
                    <a:pt x="855" y="0"/>
                    <a:pt x="859" y="6"/>
                  </a:cubicBezTo>
                  <a:cubicBezTo>
                    <a:pt x="863" y="5"/>
                    <a:pt x="867" y="5"/>
                    <a:pt x="870" y="4"/>
                  </a:cubicBezTo>
                  <a:cubicBezTo>
                    <a:pt x="870" y="4"/>
                    <a:pt x="867" y="6"/>
                    <a:pt x="869" y="6"/>
                  </a:cubicBezTo>
                  <a:cubicBezTo>
                    <a:pt x="873" y="5"/>
                    <a:pt x="875" y="6"/>
                    <a:pt x="879" y="6"/>
                  </a:cubicBezTo>
                  <a:cubicBezTo>
                    <a:pt x="879" y="6"/>
                    <a:pt x="876" y="7"/>
                    <a:pt x="877" y="7"/>
                  </a:cubicBezTo>
                  <a:cubicBezTo>
                    <a:pt x="883" y="7"/>
                    <a:pt x="884" y="8"/>
                    <a:pt x="891" y="10"/>
                  </a:cubicBezTo>
                  <a:cubicBezTo>
                    <a:pt x="887" y="11"/>
                    <a:pt x="882" y="12"/>
                    <a:pt x="877" y="12"/>
                  </a:cubicBezTo>
                  <a:cubicBezTo>
                    <a:pt x="886" y="12"/>
                    <a:pt x="891" y="12"/>
                    <a:pt x="897" y="11"/>
                  </a:cubicBezTo>
                  <a:cubicBezTo>
                    <a:pt x="897" y="11"/>
                    <a:pt x="895" y="13"/>
                    <a:pt x="895" y="13"/>
                  </a:cubicBezTo>
                  <a:cubicBezTo>
                    <a:pt x="900" y="11"/>
                    <a:pt x="898" y="13"/>
                    <a:pt x="898" y="14"/>
                  </a:cubicBezTo>
                  <a:cubicBezTo>
                    <a:pt x="899" y="15"/>
                    <a:pt x="899" y="16"/>
                    <a:pt x="895" y="17"/>
                  </a:cubicBezTo>
                  <a:cubicBezTo>
                    <a:pt x="919" y="19"/>
                    <a:pt x="870" y="28"/>
                    <a:pt x="876" y="26"/>
                  </a:cubicBezTo>
                  <a:cubicBezTo>
                    <a:pt x="870" y="26"/>
                    <a:pt x="867" y="27"/>
                    <a:pt x="862" y="24"/>
                  </a:cubicBezTo>
                  <a:cubicBezTo>
                    <a:pt x="865" y="27"/>
                    <a:pt x="863" y="25"/>
                    <a:pt x="861" y="26"/>
                  </a:cubicBezTo>
                  <a:cubicBezTo>
                    <a:pt x="863" y="26"/>
                    <a:pt x="867" y="27"/>
                    <a:pt x="870" y="27"/>
                  </a:cubicBezTo>
                  <a:cubicBezTo>
                    <a:pt x="862" y="29"/>
                    <a:pt x="854" y="29"/>
                    <a:pt x="847" y="30"/>
                  </a:cubicBezTo>
                  <a:cubicBezTo>
                    <a:pt x="856" y="30"/>
                    <a:pt x="866" y="29"/>
                    <a:pt x="875" y="28"/>
                  </a:cubicBezTo>
                  <a:cubicBezTo>
                    <a:pt x="866" y="34"/>
                    <a:pt x="839" y="40"/>
                    <a:pt x="834" y="37"/>
                  </a:cubicBezTo>
                  <a:cubicBezTo>
                    <a:pt x="832" y="39"/>
                    <a:pt x="833" y="39"/>
                    <a:pt x="834" y="40"/>
                  </a:cubicBezTo>
                  <a:cubicBezTo>
                    <a:pt x="830" y="40"/>
                    <a:pt x="826" y="41"/>
                    <a:pt x="822" y="41"/>
                  </a:cubicBezTo>
                  <a:cubicBezTo>
                    <a:pt x="825" y="41"/>
                    <a:pt x="828" y="41"/>
                    <a:pt x="830" y="41"/>
                  </a:cubicBezTo>
                  <a:cubicBezTo>
                    <a:pt x="828" y="43"/>
                    <a:pt x="826" y="42"/>
                    <a:pt x="823" y="43"/>
                  </a:cubicBezTo>
                  <a:cubicBezTo>
                    <a:pt x="823" y="43"/>
                    <a:pt x="826" y="43"/>
                    <a:pt x="826" y="43"/>
                  </a:cubicBezTo>
                  <a:cubicBezTo>
                    <a:pt x="818" y="46"/>
                    <a:pt x="813" y="43"/>
                    <a:pt x="807" y="42"/>
                  </a:cubicBezTo>
                  <a:cubicBezTo>
                    <a:pt x="809" y="43"/>
                    <a:pt x="811" y="42"/>
                    <a:pt x="813" y="43"/>
                  </a:cubicBezTo>
                  <a:cubicBezTo>
                    <a:pt x="808" y="47"/>
                    <a:pt x="801" y="45"/>
                    <a:pt x="795" y="43"/>
                  </a:cubicBezTo>
                  <a:cubicBezTo>
                    <a:pt x="795" y="44"/>
                    <a:pt x="799" y="45"/>
                    <a:pt x="800" y="46"/>
                  </a:cubicBezTo>
                  <a:cubicBezTo>
                    <a:pt x="794" y="45"/>
                    <a:pt x="793" y="45"/>
                    <a:pt x="789" y="45"/>
                  </a:cubicBezTo>
                  <a:cubicBezTo>
                    <a:pt x="792" y="46"/>
                    <a:pt x="798" y="47"/>
                    <a:pt x="804" y="48"/>
                  </a:cubicBezTo>
                  <a:cubicBezTo>
                    <a:pt x="800" y="50"/>
                    <a:pt x="796" y="49"/>
                    <a:pt x="791" y="48"/>
                  </a:cubicBezTo>
                  <a:cubicBezTo>
                    <a:pt x="788" y="48"/>
                    <a:pt x="786" y="47"/>
                    <a:pt x="784" y="47"/>
                  </a:cubicBezTo>
                  <a:cubicBezTo>
                    <a:pt x="787" y="48"/>
                    <a:pt x="790" y="49"/>
                    <a:pt x="795" y="50"/>
                  </a:cubicBezTo>
                  <a:cubicBezTo>
                    <a:pt x="795" y="50"/>
                    <a:pt x="790" y="51"/>
                    <a:pt x="791" y="51"/>
                  </a:cubicBezTo>
                  <a:cubicBezTo>
                    <a:pt x="793" y="52"/>
                    <a:pt x="795" y="50"/>
                    <a:pt x="797" y="52"/>
                  </a:cubicBezTo>
                  <a:cubicBezTo>
                    <a:pt x="792" y="54"/>
                    <a:pt x="792" y="55"/>
                    <a:pt x="785" y="54"/>
                  </a:cubicBezTo>
                  <a:cubicBezTo>
                    <a:pt x="785" y="55"/>
                    <a:pt x="790" y="57"/>
                    <a:pt x="790" y="57"/>
                  </a:cubicBezTo>
                  <a:cubicBezTo>
                    <a:pt x="786" y="57"/>
                    <a:pt x="783" y="58"/>
                    <a:pt x="779" y="57"/>
                  </a:cubicBezTo>
                  <a:cubicBezTo>
                    <a:pt x="781" y="58"/>
                    <a:pt x="783" y="59"/>
                    <a:pt x="785" y="59"/>
                  </a:cubicBezTo>
                  <a:cubicBezTo>
                    <a:pt x="780" y="59"/>
                    <a:pt x="775" y="60"/>
                    <a:pt x="770" y="61"/>
                  </a:cubicBezTo>
                  <a:cubicBezTo>
                    <a:pt x="769" y="61"/>
                    <a:pt x="768" y="62"/>
                    <a:pt x="767" y="62"/>
                  </a:cubicBezTo>
                  <a:cubicBezTo>
                    <a:pt x="768" y="64"/>
                    <a:pt x="765" y="65"/>
                    <a:pt x="761" y="65"/>
                  </a:cubicBezTo>
                  <a:cubicBezTo>
                    <a:pt x="761" y="65"/>
                    <a:pt x="761" y="65"/>
                    <a:pt x="761" y="65"/>
                  </a:cubicBezTo>
                  <a:cubicBezTo>
                    <a:pt x="754" y="67"/>
                    <a:pt x="749" y="66"/>
                    <a:pt x="748" y="60"/>
                  </a:cubicBezTo>
                  <a:cubicBezTo>
                    <a:pt x="747" y="64"/>
                    <a:pt x="745" y="65"/>
                    <a:pt x="741" y="64"/>
                  </a:cubicBezTo>
                  <a:cubicBezTo>
                    <a:pt x="742" y="64"/>
                    <a:pt x="747" y="66"/>
                    <a:pt x="748" y="67"/>
                  </a:cubicBezTo>
                  <a:cubicBezTo>
                    <a:pt x="751" y="67"/>
                    <a:pt x="752" y="66"/>
                    <a:pt x="755" y="66"/>
                  </a:cubicBezTo>
                  <a:cubicBezTo>
                    <a:pt x="752" y="69"/>
                    <a:pt x="753" y="69"/>
                    <a:pt x="752" y="71"/>
                  </a:cubicBezTo>
                  <a:cubicBezTo>
                    <a:pt x="754" y="71"/>
                    <a:pt x="756" y="69"/>
                    <a:pt x="758" y="70"/>
                  </a:cubicBezTo>
                  <a:cubicBezTo>
                    <a:pt x="755" y="72"/>
                    <a:pt x="753" y="73"/>
                    <a:pt x="749" y="75"/>
                  </a:cubicBezTo>
                  <a:cubicBezTo>
                    <a:pt x="750" y="74"/>
                    <a:pt x="750" y="74"/>
                    <a:pt x="750" y="73"/>
                  </a:cubicBezTo>
                  <a:cubicBezTo>
                    <a:pt x="745" y="75"/>
                    <a:pt x="740" y="75"/>
                    <a:pt x="735" y="75"/>
                  </a:cubicBezTo>
                  <a:cubicBezTo>
                    <a:pt x="735" y="74"/>
                    <a:pt x="737" y="75"/>
                    <a:pt x="738" y="74"/>
                  </a:cubicBezTo>
                  <a:cubicBezTo>
                    <a:pt x="733" y="73"/>
                    <a:pt x="734" y="73"/>
                    <a:pt x="735" y="71"/>
                  </a:cubicBezTo>
                  <a:cubicBezTo>
                    <a:pt x="733" y="71"/>
                    <a:pt x="733" y="69"/>
                    <a:pt x="733" y="68"/>
                  </a:cubicBezTo>
                  <a:cubicBezTo>
                    <a:pt x="730" y="74"/>
                    <a:pt x="733" y="70"/>
                    <a:pt x="727" y="73"/>
                  </a:cubicBezTo>
                  <a:cubicBezTo>
                    <a:pt x="727" y="71"/>
                    <a:pt x="730" y="69"/>
                    <a:pt x="730" y="69"/>
                  </a:cubicBezTo>
                  <a:cubicBezTo>
                    <a:pt x="727" y="70"/>
                    <a:pt x="727" y="71"/>
                    <a:pt x="723" y="72"/>
                  </a:cubicBezTo>
                  <a:cubicBezTo>
                    <a:pt x="723" y="71"/>
                    <a:pt x="724" y="70"/>
                    <a:pt x="724" y="69"/>
                  </a:cubicBezTo>
                  <a:cubicBezTo>
                    <a:pt x="720" y="71"/>
                    <a:pt x="721" y="71"/>
                    <a:pt x="717" y="69"/>
                  </a:cubicBezTo>
                  <a:cubicBezTo>
                    <a:pt x="714" y="73"/>
                    <a:pt x="715" y="73"/>
                    <a:pt x="707" y="71"/>
                  </a:cubicBezTo>
                  <a:cubicBezTo>
                    <a:pt x="709" y="68"/>
                    <a:pt x="709" y="70"/>
                    <a:pt x="709" y="68"/>
                  </a:cubicBezTo>
                  <a:cubicBezTo>
                    <a:pt x="708" y="69"/>
                    <a:pt x="706" y="70"/>
                    <a:pt x="705" y="71"/>
                  </a:cubicBezTo>
                  <a:cubicBezTo>
                    <a:pt x="703" y="70"/>
                    <a:pt x="706" y="68"/>
                    <a:pt x="706" y="67"/>
                  </a:cubicBezTo>
                  <a:cubicBezTo>
                    <a:pt x="703" y="69"/>
                    <a:pt x="703" y="69"/>
                    <a:pt x="700" y="69"/>
                  </a:cubicBezTo>
                  <a:cubicBezTo>
                    <a:pt x="701" y="67"/>
                    <a:pt x="703" y="66"/>
                    <a:pt x="703" y="65"/>
                  </a:cubicBezTo>
                  <a:cubicBezTo>
                    <a:pt x="702" y="66"/>
                    <a:pt x="698" y="70"/>
                    <a:pt x="699" y="68"/>
                  </a:cubicBezTo>
                  <a:cubicBezTo>
                    <a:pt x="696" y="68"/>
                    <a:pt x="695" y="68"/>
                    <a:pt x="698" y="66"/>
                  </a:cubicBezTo>
                  <a:close/>
                  <a:moveTo>
                    <a:pt x="780" y="38"/>
                  </a:moveTo>
                  <a:cubicBezTo>
                    <a:pt x="781" y="38"/>
                    <a:pt x="782" y="38"/>
                    <a:pt x="782" y="38"/>
                  </a:cubicBezTo>
                  <a:cubicBezTo>
                    <a:pt x="782" y="38"/>
                    <a:pt x="781" y="38"/>
                    <a:pt x="780" y="38"/>
                  </a:cubicBezTo>
                  <a:close/>
                  <a:moveTo>
                    <a:pt x="709" y="68"/>
                  </a:moveTo>
                  <a:cubicBezTo>
                    <a:pt x="709" y="68"/>
                    <a:pt x="709" y="68"/>
                    <a:pt x="709" y="68"/>
                  </a:cubicBezTo>
                  <a:cubicBezTo>
                    <a:pt x="708" y="68"/>
                    <a:pt x="708" y="68"/>
                    <a:pt x="709" y="68"/>
                  </a:cubicBezTo>
                  <a:close/>
                  <a:moveTo>
                    <a:pt x="769" y="166"/>
                  </a:moveTo>
                  <a:cubicBezTo>
                    <a:pt x="770" y="164"/>
                    <a:pt x="769" y="163"/>
                    <a:pt x="766" y="163"/>
                  </a:cubicBezTo>
                  <a:cubicBezTo>
                    <a:pt x="765" y="163"/>
                    <a:pt x="763" y="163"/>
                    <a:pt x="760" y="164"/>
                  </a:cubicBezTo>
                  <a:cubicBezTo>
                    <a:pt x="759" y="163"/>
                    <a:pt x="764" y="161"/>
                    <a:pt x="761" y="162"/>
                  </a:cubicBezTo>
                  <a:cubicBezTo>
                    <a:pt x="759" y="163"/>
                    <a:pt x="758" y="163"/>
                    <a:pt x="757" y="164"/>
                  </a:cubicBezTo>
                  <a:cubicBezTo>
                    <a:pt x="758" y="163"/>
                    <a:pt x="761" y="161"/>
                    <a:pt x="763" y="160"/>
                  </a:cubicBezTo>
                  <a:cubicBezTo>
                    <a:pt x="761" y="160"/>
                    <a:pt x="759" y="161"/>
                    <a:pt x="757" y="162"/>
                  </a:cubicBezTo>
                  <a:cubicBezTo>
                    <a:pt x="757" y="161"/>
                    <a:pt x="758" y="160"/>
                    <a:pt x="758" y="160"/>
                  </a:cubicBezTo>
                  <a:cubicBezTo>
                    <a:pt x="756" y="160"/>
                    <a:pt x="754" y="160"/>
                    <a:pt x="752" y="160"/>
                  </a:cubicBezTo>
                  <a:cubicBezTo>
                    <a:pt x="754" y="160"/>
                    <a:pt x="755" y="160"/>
                    <a:pt x="757" y="160"/>
                  </a:cubicBezTo>
                  <a:cubicBezTo>
                    <a:pt x="756" y="159"/>
                    <a:pt x="755" y="159"/>
                    <a:pt x="755" y="159"/>
                  </a:cubicBezTo>
                  <a:cubicBezTo>
                    <a:pt x="756" y="159"/>
                    <a:pt x="757" y="159"/>
                    <a:pt x="755" y="158"/>
                  </a:cubicBezTo>
                  <a:cubicBezTo>
                    <a:pt x="758" y="155"/>
                    <a:pt x="754" y="156"/>
                    <a:pt x="752" y="156"/>
                  </a:cubicBezTo>
                  <a:cubicBezTo>
                    <a:pt x="753" y="154"/>
                    <a:pt x="755" y="155"/>
                    <a:pt x="755" y="153"/>
                  </a:cubicBezTo>
                  <a:cubicBezTo>
                    <a:pt x="752" y="154"/>
                    <a:pt x="751" y="156"/>
                    <a:pt x="749" y="157"/>
                  </a:cubicBezTo>
                  <a:cubicBezTo>
                    <a:pt x="749" y="155"/>
                    <a:pt x="751" y="155"/>
                    <a:pt x="752" y="153"/>
                  </a:cubicBezTo>
                  <a:cubicBezTo>
                    <a:pt x="750" y="154"/>
                    <a:pt x="747" y="156"/>
                    <a:pt x="746" y="157"/>
                  </a:cubicBezTo>
                  <a:cubicBezTo>
                    <a:pt x="747" y="156"/>
                    <a:pt x="748" y="154"/>
                    <a:pt x="749" y="153"/>
                  </a:cubicBezTo>
                  <a:cubicBezTo>
                    <a:pt x="748" y="153"/>
                    <a:pt x="746" y="155"/>
                    <a:pt x="746" y="155"/>
                  </a:cubicBezTo>
                  <a:cubicBezTo>
                    <a:pt x="748" y="151"/>
                    <a:pt x="745" y="153"/>
                    <a:pt x="742" y="152"/>
                  </a:cubicBezTo>
                  <a:cubicBezTo>
                    <a:pt x="743" y="152"/>
                    <a:pt x="743" y="151"/>
                    <a:pt x="743" y="151"/>
                  </a:cubicBezTo>
                  <a:cubicBezTo>
                    <a:pt x="742" y="151"/>
                    <a:pt x="740" y="151"/>
                    <a:pt x="740" y="151"/>
                  </a:cubicBezTo>
                  <a:cubicBezTo>
                    <a:pt x="743" y="151"/>
                    <a:pt x="745" y="150"/>
                    <a:pt x="747" y="150"/>
                  </a:cubicBezTo>
                  <a:cubicBezTo>
                    <a:pt x="740" y="150"/>
                    <a:pt x="742" y="149"/>
                    <a:pt x="736" y="148"/>
                  </a:cubicBezTo>
                  <a:cubicBezTo>
                    <a:pt x="736" y="147"/>
                    <a:pt x="741" y="148"/>
                    <a:pt x="741" y="148"/>
                  </a:cubicBezTo>
                  <a:cubicBezTo>
                    <a:pt x="739" y="148"/>
                    <a:pt x="737" y="146"/>
                    <a:pt x="735" y="146"/>
                  </a:cubicBezTo>
                  <a:cubicBezTo>
                    <a:pt x="738" y="147"/>
                    <a:pt x="741" y="147"/>
                    <a:pt x="744" y="147"/>
                  </a:cubicBezTo>
                  <a:cubicBezTo>
                    <a:pt x="744" y="147"/>
                    <a:pt x="742" y="145"/>
                    <a:pt x="742" y="145"/>
                  </a:cubicBezTo>
                  <a:cubicBezTo>
                    <a:pt x="743" y="145"/>
                    <a:pt x="744" y="146"/>
                    <a:pt x="746" y="145"/>
                  </a:cubicBezTo>
                  <a:cubicBezTo>
                    <a:pt x="744" y="145"/>
                    <a:pt x="741" y="145"/>
                    <a:pt x="739" y="145"/>
                  </a:cubicBezTo>
                  <a:cubicBezTo>
                    <a:pt x="741" y="144"/>
                    <a:pt x="743" y="143"/>
                    <a:pt x="743" y="143"/>
                  </a:cubicBezTo>
                  <a:cubicBezTo>
                    <a:pt x="747" y="143"/>
                    <a:pt x="750" y="144"/>
                    <a:pt x="754" y="144"/>
                  </a:cubicBezTo>
                  <a:cubicBezTo>
                    <a:pt x="751" y="141"/>
                    <a:pt x="746" y="140"/>
                    <a:pt x="741" y="140"/>
                  </a:cubicBezTo>
                  <a:cubicBezTo>
                    <a:pt x="745" y="140"/>
                    <a:pt x="751" y="139"/>
                    <a:pt x="755" y="138"/>
                  </a:cubicBezTo>
                  <a:cubicBezTo>
                    <a:pt x="750" y="133"/>
                    <a:pt x="745" y="137"/>
                    <a:pt x="736" y="138"/>
                  </a:cubicBezTo>
                  <a:cubicBezTo>
                    <a:pt x="740" y="137"/>
                    <a:pt x="744" y="137"/>
                    <a:pt x="747" y="135"/>
                  </a:cubicBezTo>
                  <a:cubicBezTo>
                    <a:pt x="743" y="135"/>
                    <a:pt x="739" y="136"/>
                    <a:pt x="735" y="137"/>
                  </a:cubicBezTo>
                  <a:cubicBezTo>
                    <a:pt x="737" y="136"/>
                    <a:pt x="740" y="136"/>
                    <a:pt x="737" y="136"/>
                  </a:cubicBezTo>
                  <a:cubicBezTo>
                    <a:pt x="742" y="135"/>
                    <a:pt x="749" y="133"/>
                    <a:pt x="753" y="132"/>
                  </a:cubicBezTo>
                  <a:cubicBezTo>
                    <a:pt x="747" y="131"/>
                    <a:pt x="747" y="130"/>
                    <a:pt x="740" y="131"/>
                  </a:cubicBezTo>
                  <a:cubicBezTo>
                    <a:pt x="741" y="130"/>
                    <a:pt x="744" y="129"/>
                    <a:pt x="745" y="129"/>
                  </a:cubicBezTo>
                  <a:cubicBezTo>
                    <a:pt x="740" y="130"/>
                    <a:pt x="736" y="132"/>
                    <a:pt x="731" y="134"/>
                  </a:cubicBezTo>
                  <a:cubicBezTo>
                    <a:pt x="733" y="133"/>
                    <a:pt x="735" y="132"/>
                    <a:pt x="737" y="131"/>
                  </a:cubicBezTo>
                  <a:cubicBezTo>
                    <a:pt x="736" y="131"/>
                    <a:pt x="735" y="131"/>
                    <a:pt x="734" y="131"/>
                  </a:cubicBezTo>
                  <a:cubicBezTo>
                    <a:pt x="737" y="130"/>
                    <a:pt x="740" y="129"/>
                    <a:pt x="743" y="128"/>
                  </a:cubicBezTo>
                  <a:cubicBezTo>
                    <a:pt x="743" y="127"/>
                    <a:pt x="743" y="127"/>
                    <a:pt x="743" y="126"/>
                  </a:cubicBezTo>
                  <a:cubicBezTo>
                    <a:pt x="740" y="126"/>
                    <a:pt x="740" y="128"/>
                    <a:pt x="738" y="129"/>
                  </a:cubicBezTo>
                  <a:cubicBezTo>
                    <a:pt x="737" y="128"/>
                    <a:pt x="732" y="128"/>
                    <a:pt x="729" y="129"/>
                  </a:cubicBezTo>
                  <a:cubicBezTo>
                    <a:pt x="731" y="128"/>
                    <a:pt x="735" y="127"/>
                    <a:pt x="730" y="127"/>
                  </a:cubicBezTo>
                  <a:cubicBezTo>
                    <a:pt x="734" y="127"/>
                    <a:pt x="738" y="125"/>
                    <a:pt x="742" y="125"/>
                  </a:cubicBezTo>
                  <a:cubicBezTo>
                    <a:pt x="738" y="120"/>
                    <a:pt x="734" y="121"/>
                    <a:pt x="730" y="124"/>
                  </a:cubicBezTo>
                  <a:cubicBezTo>
                    <a:pt x="730" y="124"/>
                    <a:pt x="731" y="124"/>
                    <a:pt x="731" y="124"/>
                  </a:cubicBezTo>
                  <a:cubicBezTo>
                    <a:pt x="729" y="124"/>
                    <a:pt x="726" y="125"/>
                    <a:pt x="724" y="125"/>
                  </a:cubicBezTo>
                  <a:cubicBezTo>
                    <a:pt x="726" y="124"/>
                    <a:pt x="728" y="123"/>
                    <a:pt x="730" y="122"/>
                  </a:cubicBezTo>
                  <a:cubicBezTo>
                    <a:pt x="730" y="122"/>
                    <a:pt x="730" y="121"/>
                    <a:pt x="730" y="121"/>
                  </a:cubicBezTo>
                  <a:cubicBezTo>
                    <a:pt x="728" y="122"/>
                    <a:pt x="726" y="123"/>
                    <a:pt x="724" y="124"/>
                  </a:cubicBezTo>
                  <a:cubicBezTo>
                    <a:pt x="726" y="123"/>
                    <a:pt x="728" y="120"/>
                    <a:pt x="732" y="119"/>
                  </a:cubicBezTo>
                  <a:cubicBezTo>
                    <a:pt x="728" y="120"/>
                    <a:pt x="725" y="121"/>
                    <a:pt x="722" y="122"/>
                  </a:cubicBezTo>
                  <a:cubicBezTo>
                    <a:pt x="722" y="122"/>
                    <a:pt x="722" y="121"/>
                    <a:pt x="721" y="121"/>
                  </a:cubicBezTo>
                  <a:cubicBezTo>
                    <a:pt x="727" y="120"/>
                    <a:pt x="724" y="120"/>
                    <a:pt x="720" y="120"/>
                  </a:cubicBezTo>
                  <a:cubicBezTo>
                    <a:pt x="722" y="120"/>
                    <a:pt x="725" y="120"/>
                    <a:pt x="721" y="119"/>
                  </a:cubicBezTo>
                  <a:cubicBezTo>
                    <a:pt x="725" y="118"/>
                    <a:pt x="727" y="119"/>
                    <a:pt x="729" y="116"/>
                  </a:cubicBezTo>
                  <a:cubicBezTo>
                    <a:pt x="725" y="117"/>
                    <a:pt x="722" y="118"/>
                    <a:pt x="717" y="119"/>
                  </a:cubicBezTo>
                  <a:cubicBezTo>
                    <a:pt x="720" y="118"/>
                    <a:pt x="722" y="117"/>
                    <a:pt x="725" y="116"/>
                  </a:cubicBezTo>
                  <a:cubicBezTo>
                    <a:pt x="725" y="116"/>
                    <a:pt x="723" y="116"/>
                    <a:pt x="722" y="116"/>
                  </a:cubicBezTo>
                  <a:cubicBezTo>
                    <a:pt x="724" y="115"/>
                    <a:pt x="726" y="115"/>
                    <a:pt x="728" y="114"/>
                  </a:cubicBezTo>
                  <a:cubicBezTo>
                    <a:pt x="724" y="109"/>
                    <a:pt x="717" y="108"/>
                    <a:pt x="709" y="111"/>
                  </a:cubicBezTo>
                  <a:cubicBezTo>
                    <a:pt x="711" y="112"/>
                    <a:pt x="713" y="113"/>
                    <a:pt x="715" y="114"/>
                  </a:cubicBezTo>
                  <a:cubicBezTo>
                    <a:pt x="712" y="113"/>
                    <a:pt x="710" y="113"/>
                    <a:pt x="707" y="112"/>
                  </a:cubicBezTo>
                  <a:cubicBezTo>
                    <a:pt x="707" y="109"/>
                    <a:pt x="706" y="112"/>
                    <a:pt x="706" y="114"/>
                  </a:cubicBezTo>
                  <a:cubicBezTo>
                    <a:pt x="704" y="114"/>
                    <a:pt x="703" y="114"/>
                    <a:pt x="700" y="115"/>
                  </a:cubicBezTo>
                  <a:cubicBezTo>
                    <a:pt x="701" y="113"/>
                    <a:pt x="704" y="112"/>
                    <a:pt x="705" y="111"/>
                  </a:cubicBezTo>
                  <a:cubicBezTo>
                    <a:pt x="701" y="110"/>
                    <a:pt x="702" y="111"/>
                    <a:pt x="699" y="112"/>
                  </a:cubicBezTo>
                  <a:cubicBezTo>
                    <a:pt x="697" y="111"/>
                    <a:pt x="695" y="112"/>
                    <a:pt x="692" y="114"/>
                  </a:cubicBezTo>
                  <a:cubicBezTo>
                    <a:pt x="692" y="112"/>
                    <a:pt x="695" y="111"/>
                    <a:pt x="700" y="109"/>
                  </a:cubicBezTo>
                  <a:cubicBezTo>
                    <a:pt x="697" y="109"/>
                    <a:pt x="695" y="110"/>
                    <a:pt x="693" y="110"/>
                  </a:cubicBezTo>
                  <a:cubicBezTo>
                    <a:pt x="700" y="108"/>
                    <a:pt x="703" y="106"/>
                    <a:pt x="702" y="102"/>
                  </a:cubicBezTo>
                  <a:cubicBezTo>
                    <a:pt x="704" y="100"/>
                    <a:pt x="705" y="100"/>
                    <a:pt x="706" y="98"/>
                  </a:cubicBezTo>
                  <a:cubicBezTo>
                    <a:pt x="699" y="97"/>
                    <a:pt x="692" y="98"/>
                    <a:pt x="689" y="101"/>
                  </a:cubicBezTo>
                  <a:cubicBezTo>
                    <a:pt x="684" y="99"/>
                    <a:pt x="685" y="100"/>
                    <a:pt x="681" y="100"/>
                  </a:cubicBezTo>
                  <a:cubicBezTo>
                    <a:pt x="682" y="101"/>
                    <a:pt x="684" y="102"/>
                    <a:pt x="685" y="102"/>
                  </a:cubicBezTo>
                  <a:cubicBezTo>
                    <a:pt x="682" y="101"/>
                    <a:pt x="679" y="100"/>
                    <a:pt x="676" y="101"/>
                  </a:cubicBezTo>
                  <a:cubicBezTo>
                    <a:pt x="678" y="102"/>
                    <a:pt x="680" y="103"/>
                    <a:pt x="682" y="104"/>
                  </a:cubicBezTo>
                  <a:cubicBezTo>
                    <a:pt x="676" y="103"/>
                    <a:pt x="673" y="101"/>
                    <a:pt x="670" y="106"/>
                  </a:cubicBezTo>
                  <a:cubicBezTo>
                    <a:pt x="672" y="107"/>
                    <a:pt x="674" y="107"/>
                    <a:pt x="676" y="107"/>
                  </a:cubicBezTo>
                  <a:cubicBezTo>
                    <a:pt x="670" y="108"/>
                    <a:pt x="670" y="110"/>
                    <a:pt x="664" y="110"/>
                  </a:cubicBezTo>
                  <a:cubicBezTo>
                    <a:pt x="667" y="116"/>
                    <a:pt x="664" y="118"/>
                    <a:pt x="658" y="121"/>
                  </a:cubicBezTo>
                  <a:cubicBezTo>
                    <a:pt x="658" y="120"/>
                    <a:pt x="659" y="119"/>
                    <a:pt x="660" y="118"/>
                  </a:cubicBezTo>
                  <a:cubicBezTo>
                    <a:pt x="659" y="118"/>
                    <a:pt x="658" y="118"/>
                    <a:pt x="657" y="118"/>
                  </a:cubicBezTo>
                  <a:cubicBezTo>
                    <a:pt x="659" y="117"/>
                    <a:pt x="661" y="117"/>
                    <a:pt x="662" y="117"/>
                  </a:cubicBezTo>
                  <a:cubicBezTo>
                    <a:pt x="655" y="106"/>
                    <a:pt x="675" y="98"/>
                    <a:pt x="687" y="95"/>
                  </a:cubicBezTo>
                  <a:cubicBezTo>
                    <a:pt x="666" y="87"/>
                    <a:pt x="645" y="104"/>
                    <a:pt x="633" y="114"/>
                  </a:cubicBezTo>
                  <a:cubicBezTo>
                    <a:pt x="638" y="115"/>
                    <a:pt x="643" y="118"/>
                    <a:pt x="646" y="119"/>
                  </a:cubicBezTo>
                  <a:cubicBezTo>
                    <a:pt x="638" y="116"/>
                    <a:pt x="628" y="115"/>
                    <a:pt x="634" y="124"/>
                  </a:cubicBezTo>
                  <a:cubicBezTo>
                    <a:pt x="635" y="124"/>
                    <a:pt x="641" y="124"/>
                    <a:pt x="646" y="124"/>
                  </a:cubicBezTo>
                  <a:cubicBezTo>
                    <a:pt x="645" y="124"/>
                    <a:pt x="643" y="125"/>
                    <a:pt x="642" y="125"/>
                  </a:cubicBezTo>
                  <a:cubicBezTo>
                    <a:pt x="643" y="126"/>
                    <a:pt x="648" y="129"/>
                    <a:pt x="647" y="127"/>
                  </a:cubicBezTo>
                  <a:cubicBezTo>
                    <a:pt x="650" y="127"/>
                    <a:pt x="651" y="128"/>
                    <a:pt x="654" y="126"/>
                  </a:cubicBezTo>
                  <a:cubicBezTo>
                    <a:pt x="654" y="127"/>
                    <a:pt x="651" y="128"/>
                    <a:pt x="651" y="128"/>
                  </a:cubicBezTo>
                  <a:cubicBezTo>
                    <a:pt x="657" y="130"/>
                    <a:pt x="663" y="131"/>
                    <a:pt x="668" y="131"/>
                  </a:cubicBezTo>
                  <a:cubicBezTo>
                    <a:pt x="667" y="130"/>
                    <a:pt x="664" y="128"/>
                    <a:pt x="663" y="127"/>
                  </a:cubicBezTo>
                  <a:cubicBezTo>
                    <a:pt x="666" y="129"/>
                    <a:pt x="670" y="131"/>
                    <a:pt x="673" y="132"/>
                  </a:cubicBezTo>
                  <a:cubicBezTo>
                    <a:pt x="673" y="132"/>
                    <a:pt x="673" y="131"/>
                    <a:pt x="672" y="130"/>
                  </a:cubicBezTo>
                  <a:cubicBezTo>
                    <a:pt x="678" y="133"/>
                    <a:pt x="683" y="133"/>
                    <a:pt x="688" y="130"/>
                  </a:cubicBezTo>
                  <a:cubicBezTo>
                    <a:pt x="688" y="128"/>
                    <a:pt x="685" y="129"/>
                    <a:pt x="685" y="127"/>
                  </a:cubicBezTo>
                  <a:cubicBezTo>
                    <a:pt x="687" y="126"/>
                    <a:pt x="688" y="126"/>
                    <a:pt x="691" y="125"/>
                  </a:cubicBezTo>
                  <a:cubicBezTo>
                    <a:pt x="690" y="125"/>
                    <a:pt x="691" y="125"/>
                    <a:pt x="691" y="126"/>
                  </a:cubicBezTo>
                  <a:cubicBezTo>
                    <a:pt x="691" y="126"/>
                    <a:pt x="688" y="127"/>
                    <a:pt x="689" y="127"/>
                  </a:cubicBezTo>
                  <a:cubicBezTo>
                    <a:pt x="691" y="128"/>
                    <a:pt x="694" y="128"/>
                    <a:pt x="696" y="129"/>
                  </a:cubicBezTo>
                  <a:cubicBezTo>
                    <a:pt x="694" y="130"/>
                    <a:pt x="692" y="133"/>
                    <a:pt x="691" y="134"/>
                  </a:cubicBezTo>
                  <a:cubicBezTo>
                    <a:pt x="691" y="134"/>
                    <a:pt x="696" y="134"/>
                    <a:pt x="697" y="135"/>
                  </a:cubicBezTo>
                  <a:cubicBezTo>
                    <a:pt x="697" y="135"/>
                    <a:pt x="693" y="136"/>
                    <a:pt x="693" y="136"/>
                  </a:cubicBezTo>
                  <a:cubicBezTo>
                    <a:pt x="695" y="137"/>
                    <a:pt x="696" y="139"/>
                    <a:pt x="698" y="140"/>
                  </a:cubicBezTo>
                  <a:cubicBezTo>
                    <a:pt x="696" y="140"/>
                    <a:pt x="693" y="141"/>
                    <a:pt x="691" y="142"/>
                  </a:cubicBezTo>
                  <a:cubicBezTo>
                    <a:pt x="693" y="142"/>
                    <a:pt x="691" y="143"/>
                    <a:pt x="691" y="143"/>
                  </a:cubicBezTo>
                  <a:cubicBezTo>
                    <a:pt x="694" y="142"/>
                    <a:pt x="705" y="141"/>
                    <a:pt x="701" y="142"/>
                  </a:cubicBezTo>
                  <a:cubicBezTo>
                    <a:pt x="703" y="143"/>
                    <a:pt x="701" y="143"/>
                    <a:pt x="700" y="143"/>
                  </a:cubicBezTo>
                  <a:cubicBezTo>
                    <a:pt x="702" y="144"/>
                    <a:pt x="703" y="143"/>
                    <a:pt x="701" y="145"/>
                  </a:cubicBezTo>
                  <a:cubicBezTo>
                    <a:pt x="703" y="145"/>
                    <a:pt x="704" y="145"/>
                    <a:pt x="706" y="145"/>
                  </a:cubicBezTo>
                  <a:cubicBezTo>
                    <a:pt x="707" y="147"/>
                    <a:pt x="705" y="146"/>
                    <a:pt x="704" y="147"/>
                  </a:cubicBezTo>
                  <a:cubicBezTo>
                    <a:pt x="707" y="147"/>
                    <a:pt x="708" y="148"/>
                    <a:pt x="710" y="148"/>
                  </a:cubicBezTo>
                  <a:cubicBezTo>
                    <a:pt x="708" y="154"/>
                    <a:pt x="700" y="160"/>
                    <a:pt x="698" y="161"/>
                  </a:cubicBezTo>
                  <a:cubicBezTo>
                    <a:pt x="690" y="160"/>
                    <a:pt x="684" y="162"/>
                    <a:pt x="686" y="169"/>
                  </a:cubicBezTo>
                  <a:cubicBezTo>
                    <a:pt x="685" y="169"/>
                    <a:pt x="683" y="170"/>
                    <a:pt x="683" y="171"/>
                  </a:cubicBezTo>
                  <a:cubicBezTo>
                    <a:pt x="676" y="168"/>
                    <a:pt x="658" y="167"/>
                    <a:pt x="650" y="174"/>
                  </a:cubicBezTo>
                  <a:cubicBezTo>
                    <a:pt x="656" y="180"/>
                    <a:pt x="668" y="176"/>
                    <a:pt x="676" y="175"/>
                  </a:cubicBezTo>
                  <a:cubicBezTo>
                    <a:pt x="677" y="176"/>
                    <a:pt x="674" y="177"/>
                    <a:pt x="674" y="178"/>
                  </a:cubicBezTo>
                  <a:cubicBezTo>
                    <a:pt x="677" y="176"/>
                    <a:pt x="677" y="176"/>
                    <a:pt x="679" y="176"/>
                  </a:cubicBezTo>
                  <a:cubicBezTo>
                    <a:pt x="678" y="176"/>
                    <a:pt x="678" y="177"/>
                    <a:pt x="678" y="178"/>
                  </a:cubicBezTo>
                  <a:cubicBezTo>
                    <a:pt x="679" y="178"/>
                    <a:pt x="681" y="176"/>
                    <a:pt x="682" y="176"/>
                  </a:cubicBezTo>
                  <a:cubicBezTo>
                    <a:pt x="679" y="180"/>
                    <a:pt x="682" y="179"/>
                    <a:pt x="684" y="181"/>
                  </a:cubicBezTo>
                  <a:cubicBezTo>
                    <a:pt x="682" y="183"/>
                    <a:pt x="683" y="183"/>
                    <a:pt x="686" y="182"/>
                  </a:cubicBezTo>
                  <a:cubicBezTo>
                    <a:pt x="685" y="183"/>
                    <a:pt x="687" y="184"/>
                    <a:pt x="689" y="184"/>
                  </a:cubicBezTo>
                  <a:cubicBezTo>
                    <a:pt x="687" y="184"/>
                    <a:pt x="685" y="185"/>
                    <a:pt x="682" y="185"/>
                  </a:cubicBezTo>
                  <a:cubicBezTo>
                    <a:pt x="686" y="189"/>
                    <a:pt x="690" y="190"/>
                    <a:pt x="696" y="191"/>
                  </a:cubicBezTo>
                  <a:cubicBezTo>
                    <a:pt x="697" y="194"/>
                    <a:pt x="707" y="197"/>
                    <a:pt x="715" y="198"/>
                  </a:cubicBezTo>
                  <a:cubicBezTo>
                    <a:pt x="716" y="195"/>
                    <a:pt x="713" y="198"/>
                    <a:pt x="716" y="196"/>
                  </a:cubicBezTo>
                  <a:cubicBezTo>
                    <a:pt x="714" y="194"/>
                    <a:pt x="714" y="195"/>
                    <a:pt x="712" y="194"/>
                  </a:cubicBezTo>
                  <a:cubicBezTo>
                    <a:pt x="714" y="192"/>
                    <a:pt x="712" y="191"/>
                    <a:pt x="709" y="190"/>
                  </a:cubicBezTo>
                  <a:cubicBezTo>
                    <a:pt x="710" y="189"/>
                    <a:pt x="710" y="189"/>
                    <a:pt x="710" y="189"/>
                  </a:cubicBezTo>
                  <a:cubicBezTo>
                    <a:pt x="707" y="188"/>
                    <a:pt x="705" y="188"/>
                    <a:pt x="704" y="184"/>
                  </a:cubicBezTo>
                  <a:cubicBezTo>
                    <a:pt x="707" y="184"/>
                    <a:pt x="708" y="185"/>
                    <a:pt x="711" y="187"/>
                  </a:cubicBezTo>
                  <a:cubicBezTo>
                    <a:pt x="711" y="187"/>
                    <a:pt x="710" y="184"/>
                    <a:pt x="712" y="185"/>
                  </a:cubicBezTo>
                  <a:cubicBezTo>
                    <a:pt x="714" y="190"/>
                    <a:pt x="715" y="188"/>
                    <a:pt x="717" y="187"/>
                  </a:cubicBezTo>
                  <a:cubicBezTo>
                    <a:pt x="719" y="190"/>
                    <a:pt x="720" y="191"/>
                    <a:pt x="724" y="191"/>
                  </a:cubicBezTo>
                  <a:cubicBezTo>
                    <a:pt x="725" y="193"/>
                    <a:pt x="722" y="192"/>
                    <a:pt x="726" y="194"/>
                  </a:cubicBezTo>
                  <a:cubicBezTo>
                    <a:pt x="726" y="194"/>
                    <a:pt x="725" y="191"/>
                    <a:pt x="725" y="191"/>
                  </a:cubicBezTo>
                  <a:cubicBezTo>
                    <a:pt x="726" y="191"/>
                    <a:pt x="728" y="192"/>
                    <a:pt x="729" y="191"/>
                  </a:cubicBezTo>
                  <a:cubicBezTo>
                    <a:pt x="728" y="189"/>
                    <a:pt x="729" y="187"/>
                    <a:pt x="729" y="185"/>
                  </a:cubicBezTo>
                  <a:cubicBezTo>
                    <a:pt x="731" y="187"/>
                    <a:pt x="727" y="187"/>
                    <a:pt x="731" y="189"/>
                  </a:cubicBezTo>
                  <a:cubicBezTo>
                    <a:pt x="732" y="188"/>
                    <a:pt x="734" y="186"/>
                    <a:pt x="734" y="186"/>
                  </a:cubicBezTo>
                  <a:cubicBezTo>
                    <a:pt x="732" y="184"/>
                    <a:pt x="731" y="183"/>
                    <a:pt x="730" y="181"/>
                  </a:cubicBezTo>
                  <a:cubicBezTo>
                    <a:pt x="732" y="180"/>
                    <a:pt x="736" y="180"/>
                    <a:pt x="730" y="180"/>
                  </a:cubicBezTo>
                  <a:cubicBezTo>
                    <a:pt x="730" y="179"/>
                    <a:pt x="732" y="178"/>
                    <a:pt x="732" y="178"/>
                  </a:cubicBezTo>
                  <a:cubicBezTo>
                    <a:pt x="730" y="178"/>
                    <a:pt x="729" y="178"/>
                    <a:pt x="727" y="178"/>
                  </a:cubicBezTo>
                  <a:cubicBezTo>
                    <a:pt x="726" y="177"/>
                    <a:pt x="729" y="177"/>
                    <a:pt x="725" y="177"/>
                  </a:cubicBezTo>
                  <a:cubicBezTo>
                    <a:pt x="726" y="175"/>
                    <a:pt x="725" y="174"/>
                    <a:pt x="724" y="174"/>
                  </a:cubicBezTo>
                  <a:cubicBezTo>
                    <a:pt x="724" y="173"/>
                    <a:pt x="726" y="173"/>
                    <a:pt x="726" y="173"/>
                  </a:cubicBezTo>
                  <a:cubicBezTo>
                    <a:pt x="726" y="172"/>
                    <a:pt x="724" y="173"/>
                    <a:pt x="724" y="172"/>
                  </a:cubicBezTo>
                  <a:cubicBezTo>
                    <a:pt x="725" y="172"/>
                    <a:pt x="725" y="171"/>
                    <a:pt x="726" y="171"/>
                  </a:cubicBezTo>
                  <a:cubicBezTo>
                    <a:pt x="724" y="171"/>
                    <a:pt x="722" y="171"/>
                    <a:pt x="719" y="172"/>
                  </a:cubicBezTo>
                  <a:cubicBezTo>
                    <a:pt x="721" y="171"/>
                    <a:pt x="722" y="171"/>
                    <a:pt x="724" y="170"/>
                  </a:cubicBezTo>
                  <a:cubicBezTo>
                    <a:pt x="722" y="167"/>
                    <a:pt x="723" y="169"/>
                    <a:pt x="723" y="167"/>
                  </a:cubicBezTo>
                  <a:cubicBezTo>
                    <a:pt x="725" y="167"/>
                    <a:pt x="727" y="168"/>
                    <a:pt x="730" y="168"/>
                  </a:cubicBezTo>
                  <a:cubicBezTo>
                    <a:pt x="729" y="167"/>
                    <a:pt x="728" y="166"/>
                    <a:pt x="727" y="165"/>
                  </a:cubicBezTo>
                  <a:cubicBezTo>
                    <a:pt x="731" y="166"/>
                    <a:pt x="730" y="166"/>
                    <a:pt x="729" y="164"/>
                  </a:cubicBezTo>
                  <a:cubicBezTo>
                    <a:pt x="731" y="165"/>
                    <a:pt x="733" y="164"/>
                    <a:pt x="735" y="164"/>
                  </a:cubicBezTo>
                  <a:cubicBezTo>
                    <a:pt x="735" y="165"/>
                    <a:pt x="734" y="166"/>
                    <a:pt x="734" y="166"/>
                  </a:cubicBezTo>
                  <a:cubicBezTo>
                    <a:pt x="737" y="167"/>
                    <a:pt x="737" y="167"/>
                    <a:pt x="742" y="166"/>
                  </a:cubicBezTo>
                  <a:cubicBezTo>
                    <a:pt x="740" y="167"/>
                    <a:pt x="738" y="168"/>
                    <a:pt x="736" y="169"/>
                  </a:cubicBezTo>
                  <a:cubicBezTo>
                    <a:pt x="740" y="168"/>
                    <a:pt x="744" y="168"/>
                    <a:pt x="748" y="166"/>
                  </a:cubicBezTo>
                  <a:cubicBezTo>
                    <a:pt x="745" y="167"/>
                    <a:pt x="743" y="169"/>
                    <a:pt x="742" y="171"/>
                  </a:cubicBezTo>
                  <a:cubicBezTo>
                    <a:pt x="739" y="171"/>
                    <a:pt x="738" y="171"/>
                    <a:pt x="741" y="171"/>
                  </a:cubicBezTo>
                  <a:cubicBezTo>
                    <a:pt x="737" y="173"/>
                    <a:pt x="739" y="173"/>
                    <a:pt x="742" y="173"/>
                  </a:cubicBezTo>
                  <a:cubicBezTo>
                    <a:pt x="740" y="174"/>
                    <a:pt x="738" y="173"/>
                    <a:pt x="740" y="176"/>
                  </a:cubicBezTo>
                  <a:cubicBezTo>
                    <a:pt x="740" y="176"/>
                    <a:pt x="743" y="174"/>
                    <a:pt x="743" y="174"/>
                  </a:cubicBezTo>
                  <a:cubicBezTo>
                    <a:pt x="743" y="174"/>
                    <a:pt x="741" y="176"/>
                    <a:pt x="742" y="176"/>
                  </a:cubicBezTo>
                  <a:cubicBezTo>
                    <a:pt x="747" y="178"/>
                    <a:pt x="749" y="176"/>
                    <a:pt x="749" y="172"/>
                  </a:cubicBezTo>
                  <a:cubicBezTo>
                    <a:pt x="752" y="172"/>
                    <a:pt x="754" y="172"/>
                    <a:pt x="755" y="170"/>
                  </a:cubicBezTo>
                  <a:cubicBezTo>
                    <a:pt x="757" y="170"/>
                    <a:pt x="758" y="173"/>
                    <a:pt x="759" y="170"/>
                  </a:cubicBezTo>
                  <a:cubicBezTo>
                    <a:pt x="759" y="170"/>
                    <a:pt x="757" y="169"/>
                    <a:pt x="757" y="169"/>
                  </a:cubicBezTo>
                  <a:cubicBezTo>
                    <a:pt x="759" y="169"/>
                    <a:pt x="760" y="170"/>
                    <a:pt x="762" y="170"/>
                  </a:cubicBezTo>
                  <a:cubicBezTo>
                    <a:pt x="761" y="169"/>
                    <a:pt x="759" y="169"/>
                    <a:pt x="758" y="168"/>
                  </a:cubicBezTo>
                  <a:cubicBezTo>
                    <a:pt x="760" y="168"/>
                    <a:pt x="760" y="169"/>
                    <a:pt x="760" y="167"/>
                  </a:cubicBezTo>
                  <a:cubicBezTo>
                    <a:pt x="763" y="167"/>
                    <a:pt x="763" y="167"/>
                    <a:pt x="766" y="167"/>
                  </a:cubicBezTo>
                  <a:cubicBezTo>
                    <a:pt x="764" y="167"/>
                    <a:pt x="766" y="167"/>
                    <a:pt x="766" y="166"/>
                  </a:cubicBezTo>
                  <a:cubicBezTo>
                    <a:pt x="767" y="165"/>
                    <a:pt x="766" y="166"/>
                    <a:pt x="765" y="166"/>
                  </a:cubicBezTo>
                  <a:cubicBezTo>
                    <a:pt x="767" y="165"/>
                    <a:pt x="768" y="165"/>
                    <a:pt x="769" y="166"/>
                  </a:cubicBezTo>
                  <a:close/>
                  <a:moveTo>
                    <a:pt x="755" y="292"/>
                  </a:moveTo>
                  <a:cubicBezTo>
                    <a:pt x="752" y="295"/>
                    <a:pt x="751" y="293"/>
                    <a:pt x="751" y="292"/>
                  </a:cubicBezTo>
                  <a:cubicBezTo>
                    <a:pt x="752" y="292"/>
                    <a:pt x="754" y="291"/>
                    <a:pt x="755" y="290"/>
                  </a:cubicBezTo>
                  <a:cubicBezTo>
                    <a:pt x="751" y="292"/>
                    <a:pt x="746" y="291"/>
                    <a:pt x="747" y="291"/>
                  </a:cubicBezTo>
                  <a:cubicBezTo>
                    <a:pt x="747" y="291"/>
                    <a:pt x="746" y="291"/>
                    <a:pt x="746" y="291"/>
                  </a:cubicBezTo>
                  <a:cubicBezTo>
                    <a:pt x="747" y="291"/>
                    <a:pt x="748" y="291"/>
                    <a:pt x="748" y="291"/>
                  </a:cubicBezTo>
                  <a:cubicBezTo>
                    <a:pt x="748" y="291"/>
                    <a:pt x="749" y="291"/>
                    <a:pt x="749" y="290"/>
                  </a:cubicBezTo>
                  <a:cubicBezTo>
                    <a:pt x="750" y="289"/>
                    <a:pt x="754" y="287"/>
                    <a:pt x="755" y="287"/>
                  </a:cubicBezTo>
                  <a:cubicBezTo>
                    <a:pt x="752" y="287"/>
                    <a:pt x="750" y="288"/>
                    <a:pt x="747" y="289"/>
                  </a:cubicBezTo>
                  <a:cubicBezTo>
                    <a:pt x="748" y="288"/>
                    <a:pt x="747" y="288"/>
                    <a:pt x="746" y="289"/>
                  </a:cubicBezTo>
                  <a:cubicBezTo>
                    <a:pt x="748" y="288"/>
                    <a:pt x="750" y="287"/>
                    <a:pt x="748" y="287"/>
                  </a:cubicBezTo>
                  <a:cubicBezTo>
                    <a:pt x="749" y="285"/>
                    <a:pt x="747" y="285"/>
                    <a:pt x="745" y="286"/>
                  </a:cubicBezTo>
                  <a:cubicBezTo>
                    <a:pt x="749" y="285"/>
                    <a:pt x="751" y="285"/>
                    <a:pt x="753" y="283"/>
                  </a:cubicBezTo>
                  <a:cubicBezTo>
                    <a:pt x="749" y="281"/>
                    <a:pt x="749" y="284"/>
                    <a:pt x="746" y="284"/>
                  </a:cubicBezTo>
                  <a:cubicBezTo>
                    <a:pt x="748" y="280"/>
                    <a:pt x="743" y="283"/>
                    <a:pt x="739" y="285"/>
                  </a:cubicBezTo>
                  <a:cubicBezTo>
                    <a:pt x="739" y="284"/>
                    <a:pt x="744" y="281"/>
                    <a:pt x="739" y="283"/>
                  </a:cubicBezTo>
                  <a:cubicBezTo>
                    <a:pt x="740" y="283"/>
                    <a:pt x="736" y="282"/>
                    <a:pt x="734" y="282"/>
                  </a:cubicBezTo>
                  <a:cubicBezTo>
                    <a:pt x="738" y="280"/>
                    <a:pt x="735" y="282"/>
                    <a:pt x="734" y="281"/>
                  </a:cubicBezTo>
                  <a:cubicBezTo>
                    <a:pt x="736" y="281"/>
                    <a:pt x="739" y="279"/>
                    <a:pt x="740" y="279"/>
                  </a:cubicBezTo>
                  <a:cubicBezTo>
                    <a:pt x="739" y="279"/>
                    <a:pt x="737" y="279"/>
                    <a:pt x="735" y="279"/>
                  </a:cubicBezTo>
                  <a:cubicBezTo>
                    <a:pt x="739" y="278"/>
                    <a:pt x="731" y="280"/>
                    <a:pt x="729" y="281"/>
                  </a:cubicBezTo>
                  <a:cubicBezTo>
                    <a:pt x="732" y="278"/>
                    <a:pt x="735" y="275"/>
                    <a:pt x="739" y="273"/>
                  </a:cubicBezTo>
                  <a:cubicBezTo>
                    <a:pt x="739" y="273"/>
                    <a:pt x="741" y="273"/>
                    <a:pt x="742" y="272"/>
                  </a:cubicBezTo>
                  <a:cubicBezTo>
                    <a:pt x="742" y="272"/>
                    <a:pt x="740" y="271"/>
                    <a:pt x="740" y="271"/>
                  </a:cubicBezTo>
                  <a:cubicBezTo>
                    <a:pt x="742" y="270"/>
                    <a:pt x="743" y="271"/>
                    <a:pt x="745" y="269"/>
                  </a:cubicBezTo>
                  <a:cubicBezTo>
                    <a:pt x="738" y="269"/>
                    <a:pt x="729" y="274"/>
                    <a:pt x="726" y="277"/>
                  </a:cubicBezTo>
                  <a:cubicBezTo>
                    <a:pt x="723" y="280"/>
                    <a:pt x="719" y="281"/>
                    <a:pt x="719" y="283"/>
                  </a:cubicBezTo>
                  <a:cubicBezTo>
                    <a:pt x="713" y="286"/>
                    <a:pt x="712" y="285"/>
                    <a:pt x="712" y="285"/>
                  </a:cubicBezTo>
                  <a:cubicBezTo>
                    <a:pt x="710" y="285"/>
                    <a:pt x="709" y="286"/>
                    <a:pt x="707" y="287"/>
                  </a:cubicBezTo>
                  <a:cubicBezTo>
                    <a:pt x="709" y="287"/>
                    <a:pt x="711" y="287"/>
                    <a:pt x="713" y="287"/>
                  </a:cubicBezTo>
                  <a:cubicBezTo>
                    <a:pt x="710" y="288"/>
                    <a:pt x="707" y="290"/>
                    <a:pt x="704" y="291"/>
                  </a:cubicBezTo>
                  <a:cubicBezTo>
                    <a:pt x="705" y="291"/>
                    <a:pt x="704" y="292"/>
                    <a:pt x="704" y="292"/>
                  </a:cubicBezTo>
                  <a:cubicBezTo>
                    <a:pt x="713" y="291"/>
                    <a:pt x="722" y="295"/>
                    <a:pt x="730" y="291"/>
                  </a:cubicBezTo>
                  <a:cubicBezTo>
                    <a:pt x="730" y="291"/>
                    <a:pt x="732" y="292"/>
                    <a:pt x="728" y="293"/>
                  </a:cubicBezTo>
                  <a:cubicBezTo>
                    <a:pt x="733" y="293"/>
                    <a:pt x="735" y="293"/>
                    <a:pt x="739" y="293"/>
                  </a:cubicBezTo>
                  <a:cubicBezTo>
                    <a:pt x="735" y="294"/>
                    <a:pt x="732" y="295"/>
                    <a:pt x="728" y="297"/>
                  </a:cubicBezTo>
                  <a:cubicBezTo>
                    <a:pt x="732" y="297"/>
                    <a:pt x="735" y="296"/>
                    <a:pt x="740" y="294"/>
                  </a:cubicBezTo>
                  <a:cubicBezTo>
                    <a:pt x="739" y="295"/>
                    <a:pt x="739" y="295"/>
                    <a:pt x="739" y="295"/>
                  </a:cubicBezTo>
                  <a:cubicBezTo>
                    <a:pt x="742" y="293"/>
                    <a:pt x="742" y="291"/>
                    <a:pt x="745" y="292"/>
                  </a:cubicBezTo>
                  <a:cubicBezTo>
                    <a:pt x="744" y="294"/>
                    <a:pt x="743" y="296"/>
                    <a:pt x="741" y="298"/>
                  </a:cubicBezTo>
                  <a:cubicBezTo>
                    <a:pt x="743" y="297"/>
                    <a:pt x="746" y="297"/>
                    <a:pt x="748" y="296"/>
                  </a:cubicBezTo>
                  <a:cubicBezTo>
                    <a:pt x="747" y="297"/>
                    <a:pt x="745" y="298"/>
                    <a:pt x="745" y="298"/>
                  </a:cubicBezTo>
                  <a:cubicBezTo>
                    <a:pt x="745" y="298"/>
                    <a:pt x="745" y="299"/>
                    <a:pt x="745" y="299"/>
                  </a:cubicBezTo>
                  <a:cubicBezTo>
                    <a:pt x="751" y="298"/>
                    <a:pt x="751" y="298"/>
                    <a:pt x="755" y="292"/>
                  </a:cubicBezTo>
                  <a:close/>
                  <a:moveTo>
                    <a:pt x="2237" y="554"/>
                  </a:moveTo>
                  <a:cubicBezTo>
                    <a:pt x="2238" y="556"/>
                    <a:pt x="2240" y="556"/>
                    <a:pt x="2243" y="556"/>
                  </a:cubicBezTo>
                  <a:cubicBezTo>
                    <a:pt x="2248" y="553"/>
                    <a:pt x="2238" y="551"/>
                    <a:pt x="2232" y="549"/>
                  </a:cubicBezTo>
                  <a:cubicBezTo>
                    <a:pt x="2233" y="547"/>
                    <a:pt x="2234" y="548"/>
                    <a:pt x="2235" y="547"/>
                  </a:cubicBezTo>
                  <a:cubicBezTo>
                    <a:pt x="2229" y="544"/>
                    <a:pt x="2229" y="542"/>
                    <a:pt x="2225" y="539"/>
                  </a:cubicBezTo>
                  <a:cubicBezTo>
                    <a:pt x="2226" y="539"/>
                    <a:pt x="2228" y="539"/>
                    <a:pt x="2229" y="539"/>
                  </a:cubicBezTo>
                  <a:cubicBezTo>
                    <a:pt x="2228" y="538"/>
                    <a:pt x="2227" y="537"/>
                    <a:pt x="2225" y="537"/>
                  </a:cubicBezTo>
                  <a:cubicBezTo>
                    <a:pt x="2226" y="537"/>
                    <a:pt x="2226" y="536"/>
                    <a:pt x="2225" y="536"/>
                  </a:cubicBezTo>
                  <a:cubicBezTo>
                    <a:pt x="2227" y="536"/>
                    <a:pt x="2225" y="536"/>
                    <a:pt x="2226" y="535"/>
                  </a:cubicBezTo>
                  <a:cubicBezTo>
                    <a:pt x="2229" y="535"/>
                    <a:pt x="2231" y="535"/>
                    <a:pt x="2234" y="535"/>
                  </a:cubicBezTo>
                  <a:cubicBezTo>
                    <a:pt x="2234" y="533"/>
                    <a:pt x="2230" y="535"/>
                    <a:pt x="2230" y="532"/>
                  </a:cubicBezTo>
                  <a:cubicBezTo>
                    <a:pt x="2233" y="532"/>
                    <a:pt x="2236" y="531"/>
                    <a:pt x="2239" y="531"/>
                  </a:cubicBezTo>
                  <a:cubicBezTo>
                    <a:pt x="2224" y="527"/>
                    <a:pt x="2221" y="521"/>
                    <a:pt x="2211" y="520"/>
                  </a:cubicBezTo>
                  <a:cubicBezTo>
                    <a:pt x="2207" y="526"/>
                    <a:pt x="2208" y="526"/>
                    <a:pt x="2202" y="530"/>
                  </a:cubicBezTo>
                  <a:cubicBezTo>
                    <a:pt x="2203" y="531"/>
                    <a:pt x="2202" y="531"/>
                    <a:pt x="2205" y="531"/>
                  </a:cubicBezTo>
                  <a:cubicBezTo>
                    <a:pt x="2197" y="532"/>
                    <a:pt x="2183" y="543"/>
                    <a:pt x="2180" y="547"/>
                  </a:cubicBezTo>
                  <a:cubicBezTo>
                    <a:pt x="2178" y="549"/>
                    <a:pt x="2174" y="546"/>
                    <a:pt x="2174" y="552"/>
                  </a:cubicBezTo>
                  <a:cubicBezTo>
                    <a:pt x="2163" y="548"/>
                    <a:pt x="2148" y="551"/>
                    <a:pt x="2161" y="561"/>
                  </a:cubicBezTo>
                  <a:cubicBezTo>
                    <a:pt x="2161" y="563"/>
                    <a:pt x="2166" y="563"/>
                    <a:pt x="2171" y="562"/>
                  </a:cubicBezTo>
                  <a:cubicBezTo>
                    <a:pt x="2168" y="562"/>
                    <a:pt x="2165" y="563"/>
                    <a:pt x="2162" y="564"/>
                  </a:cubicBezTo>
                  <a:cubicBezTo>
                    <a:pt x="2163" y="565"/>
                    <a:pt x="2164" y="565"/>
                    <a:pt x="2166" y="566"/>
                  </a:cubicBezTo>
                  <a:cubicBezTo>
                    <a:pt x="2166" y="567"/>
                    <a:pt x="2167" y="567"/>
                    <a:pt x="2168" y="568"/>
                  </a:cubicBezTo>
                  <a:cubicBezTo>
                    <a:pt x="2175" y="574"/>
                    <a:pt x="2179" y="584"/>
                    <a:pt x="2189" y="576"/>
                  </a:cubicBezTo>
                  <a:cubicBezTo>
                    <a:pt x="2193" y="586"/>
                    <a:pt x="2201" y="577"/>
                    <a:pt x="2210" y="581"/>
                  </a:cubicBezTo>
                  <a:cubicBezTo>
                    <a:pt x="2212" y="582"/>
                    <a:pt x="2234" y="587"/>
                    <a:pt x="2229" y="575"/>
                  </a:cubicBezTo>
                  <a:cubicBezTo>
                    <a:pt x="2230" y="576"/>
                    <a:pt x="2231" y="576"/>
                    <a:pt x="2232" y="575"/>
                  </a:cubicBezTo>
                  <a:cubicBezTo>
                    <a:pt x="2228" y="573"/>
                    <a:pt x="2232" y="573"/>
                    <a:pt x="2227" y="572"/>
                  </a:cubicBezTo>
                  <a:cubicBezTo>
                    <a:pt x="2228" y="572"/>
                    <a:pt x="2228" y="571"/>
                    <a:pt x="2227" y="571"/>
                  </a:cubicBezTo>
                  <a:cubicBezTo>
                    <a:pt x="2232" y="571"/>
                    <a:pt x="2230" y="569"/>
                    <a:pt x="2230" y="567"/>
                  </a:cubicBezTo>
                  <a:cubicBezTo>
                    <a:pt x="2234" y="564"/>
                    <a:pt x="2236" y="559"/>
                    <a:pt x="2237" y="554"/>
                  </a:cubicBezTo>
                  <a:close/>
                  <a:moveTo>
                    <a:pt x="2283" y="287"/>
                  </a:moveTo>
                  <a:cubicBezTo>
                    <a:pt x="2271" y="287"/>
                    <a:pt x="2262" y="281"/>
                    <a:pt x="2251" y="278"/>
                  </a:cubicBezTo>
                  <a:cubicBezTo>
                    <a:pt x="2252" y="279"/>
                    <a:pt x="2250" y="279"/>
                    <a:pt x="2250" y="279"/>
                  </a:cubicBezTo>
                  <a:cubicBezTo>
                    <a:pt x="2256" y="284"/>
                    <a:pt x="2259" y="288"/>
                    <a:pt x="2263" y="293"/>
                  </a:cubicBezTo>
                  <a:cubicBezTo>
                    <a:pt x="2262" y="293"/>
                    <a:pt x="2262" y="293"/>
                    <a:pt x="2262" y="294"/>
                  </a:cubicBezTo>
                  <a:cubicBezTo>
                    <a:pt x="2260" y="293"/>
                    <a:pt x="2256" y="294"/>
                    <a:pt x="2254" y="294"/>
                  </a:cubicBezTo>
                  <a:cubicBezTo>
                    <a:pt x="2254" y="294"/>
                    <a:pt x="2258" y="295"/>
                    <a:pt x="2258" y="295"/>
                  </a:cubicBezTo>
                  <a:cubicBezTo>
                    <a:pt x="2253" y="303"/>
                    <a:pt x="2266" y="307"/>
                    <a:pt x="2271" y="304"/>
                  </a:cubicBezTo>
                  <a:cubicBezTo>
                    <a:pt x="2272" y="304"/>
                    <a:pt x="2272" y="303"/>
                    <a:pt x="2272" y="303"/>
                  </a:cubicBezTo>
                  <a:cubicBezTo>
                    <a:pt x="2268" y="302"/>
                    <a:pt x="2264" y="300"/>
                    <a:pt x="2260" y="299"/>
                  </a:cubicBezTo>
                  <a:cubicBezTo>
                    <a:pt x="2268" y="296"/>
                    <a:pt x="2278" y="298"/>
                    <a:pt x="2286" y="302"/>
                  </a:cubicBezTo>
                  <a:cubicBezTo>
                    <a:pt x="2284" y="294"/>
                    <a:pt x="2291" y="293"/>
                    <a:pt x="2296" y="290"/>
                  </a:cubicBezTo>
                  <a:cubicBezTo>
                    <a:pt x="2295" y="289"/>
                    <a:pt x="2293" y="289"/>
                    <a:pt x="2292" y="288"/>
                  </a:cubicBezTo>
                  <a:cubicBezTo>
                    <a:pt x="2291" y="286"/>
                    <a:pt x="2292" y="285"/>
                    <a:pt x="2294" y="284"/>
                  </a:cubicBezTo>
                  <a:cubicBezTo>
                    <a:pt x="2295" y="284"/>
                    <a:pt x="2290" y="283"/>
                    <a:pt x="2290" y="283"/>
                  </a:cubicBezTo>
                  <a:cubicBezTo>
                    <a:pt x="2290" y="286"/>
                    <a:pt x="2290" y="286"/>
                    <a:pt x="2292" y="288"/>
                  </a:cubicBezTo>
                  <a:cubicBezTo>
                    <a:pt x="2290" y="287"/>
                    <a:pt x="2288" y="286"/>
                    <a:pt x="2286" y="284"/>
                  </a:cubicBezTo>
                  <a:cubicBezTo>
                    <a:pt x="2286" y="286"/>
                    <a:pt x="2285" y="287"/>
                    <a:pt x="2283" y="287"/>
                  </a:cubicBezTo>
                  <a:close/>
                  <a:moveTo>
                    <a:pt x="2216" y="244"/>
                  </a:moveTo>
                  <a:cubicBezTo>
                    <a:pt x="2226" y="255"/>
                    <a:pt x="2237" y="267"/>
                    <a:pt x="2250" y="275"/>
                  </a:cubicBezTo>
                  <a:cubicBezTo>
                    <a:pt x="2249" y="273"/>
                    <a:pt x="2247" y="272"/>
                    <a:pt x="2247" y="270"/>
                  </a:cubicBezTo>
                  <a:cubicBezTo>
                    <a:pt x="2252" y="271"/>
                    <a:pt x="2253" y="270"/>
                    <a:pt x="2259" y="273"/>
                  </a:cubicBezTo>
                  <a:cubicBezTo>
                    <a:pt x="2251" y="265"/>
                    <a:pt x="2236" y="263"/>
                    <a:pt x="2232" y="250"/>
                  </a:cubicBezTo>
                  <a:cubicBezTo>
                    <a:pt x="2237" y="250"/>
                    <a:pt x="2242" y="252"/>
                    <a:pt x="2247" y="254"/>
                  </a:cubicBezTo>
                  <a:cubicBezTo>
                    <a:pt x="2233" y="247"/>
                    <a:pt x="2214" y="237"/>
                    <a:pt x="2205" y="228"/>
                  </a:cubicBezTo>
                  <a:cubicBezTo>
                    <a:pt x="2202" y="226"/>
                    <a:pt x="2200" y="223"/>
                    <a:pt x="2197" y="221"/>
                  </a:cubicBezTo>
                  <a:cubicBezTo>
                    <a:pt x="2199" y="222"/>
                    <a:pt x="2200" y="222"/>
                    <a:pt x="2202" y="223"/>
                  </a:cubicBezTo>
                  <a:cubicBezTo>
                    <a:pt x="2195" y="219"/>
                    <a:pt x="2189" y="216"/>
                    <a:pt x="2182" y="213"/>
                  </a:cubicBezTo>
                  <a:cubicBezTo>
                    <a:pt x="2183" y="215"/>
                    <a:pt x="2182" y="213"/>
                    <a:pt x="2179" y="214"/>
                  </a:cubicBezTo>
                  <a:cubicBezTo>
                    <a:pt x="2186" y="216"/>
                    <a:pt x="2188" y="217"/>
                    <a:pt x="2190" y="220"/>
                  </a:cubicBezTo>
                  <a:cubicBezTo>
                    <a:pt x="2188" y="220"/>
                    <a:pt x="2187" y="220"/>
                    <a:pt x="2185" y="220"/>
                  </a:cubicBezTo>
                  <a:cubicBezTo>
                    <a:pt x="2194" y="230"/>
                    <a:pt x="2207" y="235"/>
                    <a:pt x="2216" y="244"/>
                  </a:cubicBezTo>
                  <a:close/>
                  <a:moveTo>
                    <a:pt x="2263" y="486"/>
                  </a:moveTo>
                  <a:cubicBezTo>
                    <a:pt x="2260" y="484"/>
                    <a:pt x="2258" y="484"/>
                    <a:pt x="2255" y="482"/>
                  </a:cubicBezTo>
                  <a:cubicBezTo>
                    <a:pt x="2255" y="481"/>
                    <a:pt x="2256" y="481"/>
                    <a:pt x="2257" y="481"/>
                  </a:cubicBezTo>
                  <a:cubicBezTo>
                    <a:pt x="2254" y="481"/>
                    <a:pt x="2244" y="479"/>
                    <a:pt x="2237" y="476"/>
                  </a:cubicBezTo>
                  <a:cubicBezTo>
                    <a:pt x="2238" y="474"/>
                    <a:pt x="2237" y="474"/>
                    <a:pt x="2237" y="473"/>
                  </a:cubicBezTo>
                  <a:cubicBezTo>
                    <a:pt x="2237" y="474"/>
                    <a:pt x="2236" y="474"/>
                    <a:pt x="2236" y="475"/>
                  </a:cubicBezTo>
                  <a:cubicBezTo>
                    <a:pt x="2231" y="473"/>
                    <a:pt x="2228" y="471"/>
                    <a:pt x="2234" y="468"/>
                  </a:cubicBezTo>
                  <a:cubicBezTo>
                    <a:pt x="2233" y="455"/>
                    <a:pt x="2225" y="452"/>
                    <a:pt x="2213" y="455"/>
                  </a:cubicBezTo>
                  <a:cubicBezTo>
                    <a:pt x="2215" y="459"/>
                    <a:pt x="2214" y="463"/>
                    <a:pt x="2216" y="467"/>
                  </a:cubicBezTo>
                  <a:cubicBezTo>
                    <a:pt x="2214" y="468"/>
                    <a:pt x="2214" y="467"/>
                    <a:pt x="2212" y="466"/>
                  </a:cubicBezTo>
                  <a:cubicBezTo>
                    <a:pt x="2215" y="471"/>
                    <a:pt x="2219" y="475"/>
                    <a:pt x="2225" y="477"/>
                  </a:cubicBezTo>
                  <a:cubicBezTo>
                    <a:pt x="2226" y="476"/>
                    <a:pt x="2223" y="476"/>
                    <a:pt x="2224" y="475"/>
                  </a:cubicBezTo>
                  <a:cubicBezTo>
                    <a:pt x="2225" y="475"/>
                    <a:pt x="2227" y="475"/>
                    <a:pt x="2228" y="476"/>
                  </a:cubicBezTo>
                  <a:cubicBezTo>
                    <a:pt x="2226" y="485"/>
                    <a:pt x="2238" y="479"/>
                    <a:pt x="2248" y="484"/>
                  </a:cubicBezTo>
                  <a:cubicBezTo>
                    <a:pt x="2247" y="483"/>
                    <a:pt x="2245" y="481"/>
                    <a:pt x="2244" y="480"/>
                  </a:cubicBezTo>
                  <a:cubicBezTo>
                    <a:pt x="2252" y="484"/>
                    <a:pt x="2259" y="486"/>
                    <a:pt x="2263" y="489"/>
                  </a:cubicBezTo>
                  <a:cubicBezTo>
                    <a:pt x="2263" y="488"/>
                    <a:pt x="2263" y="486"/>
                    <a:pt x="2263" y="486"/>
                  </a:cubicBezTo>
                  <a:close/>
                  <a:moveTo>
                    <a:pt x="2191" y="419"/>
                  </a:moveTo>
                  <a:cubicBezTo>
                    <a:pt x="2189" y="428"/>
                    <a:pt x="2196" y="433"/>
                    <a:pt x="2204" y="435"/>
                  </a:cubicBezTo>
                  <a:cubicBezTo>
                    <a:pt x="2203" y="428"/>
                    <a:pt x="2200" y="403"/>
                    <a:pt x="2191" y="419"/>
                  </a:cubicBezTo>
                  <a:close/>
                  <a:moveTo>
                    <a:pt x="2502" y="607"/>
                  </a:moveTo>
                  <a:cubicBezTo>
                    <a:pt x="2501" y="607"/>
                    <a:pt x="2501" y="607"/>
                    <a:pt x="2501" y="607"/>
                  </a:cubicBezTo>
                  <a:cubicBezTo>
                    <a:pt x="2501" y="607"/>
                    <a:pt x="2501" y="607"/>
                    <a:pt x="2502" y="607"/>
                  </a:cubicBezTo>
                  <a:close/>
                  <a:moveTo>
                    <a:pt x="2389" y="573"/>
                  </a:moveTo>
                  <a:cubicBezTo>
                    <a:pt x="2392" y="573"/>
                    <a:pt x="2393" y="572"/>
                    <a:pt x="2395" y="575"/>
                  </a:cubicBezTo>
                  <a:cubicBezTo>
                    <a:pt x="2390" y="576"/>
                    <a:pt x="2384" y="577"/>
                    <a:pt x="2378" y="577"/>
                  </a:cubicBezTo>
                  <a:cubicBezTo>
                    <a:pt x="2386" y="581"/>
                    <a:pt x="2392" y="589"/>
                    <a:pt x="2395" y="577"/>
                  </a:cubicBezTo>
                  <a:cubicBezTo>
                    <a:pt x="2397" y="583"/>
                    <a:pt x="2401" y="583"/>
                    <a:pt x="2408" y="584"/>
                  </a:cubicBezTo>
                  <a:cubicBezTo>
                    <a:pt x="2408" y="587"/>
                    <a:pt x="2429" y="589"/>
                    <a:pt x="2438" y="590"/>
                  </a:cubicBezTo>
                  <a:cubicBezTo>
                    <a:pt x="2437" y="592"/>
                    <a:pt x="2439" y="592"/>
                    <a:pt x="2441" y="592"/>
                  </a:cubicBezTo>
                  <a:cubicBezTo>
                    <a:pt x="2440" y="593"/>
                    <a:pt x="2441" y="594"/>
                    <a:pt x="2444" y="594"/>
                  </a:cubicBezTo>
                  <a:cubicBezTo>
                    <a:pt x="2444" y="596"/>
                    <a:pt x="2447" y="599"/>
                    <a:pt x="2452" y="601"/>
                  </a:cubicBezTo>
                  <a:cubicBezTo>
                    <a:pt x="2447" y="602"/>
                    <a:pt x="2454" y="602"/>
                    <a:pt x="2457" y="603"/>
                  </a:cubicBezTo>
                  <a:cubicBezTo>
                    <a:pt x="2456" y="603"/>
                    <a:pt x="2454" y="603"/>
                    <a:pt x="2452" y="603"/>
                  </a:cubicBezTo>
                  <a:cubicBezTo>
                    <a:pt x="2453" y="604"/>
                    <a:pt x="2454" y="607"/>
                    <a:pt x="2455" y="608"/>
                  </a:cubicBezTo>
                  <a:cubicBezTo>
                    <a:pt x="2459" y="609"/>
                    <a:pt x="2463" y="608"/>
                    <a:pt x="2466" y="606"/>
                  </a:cubicBezTo>
                  <a:cubicBezTo>
                    <a:pt x="2471" y="617"/>
                    <a:pt x="2491" y="617"/>
                    <a:pt x="2500" y="614"/>
                  </a:cubicBezTo>
                  <a:cubicBezTo>
                    <a:pt x="2495" y="612"/>
                    <a:pt x="2489" y="610"/>
                    <a:pt x="2484" y="607"/>
                  </a:cubicBezTo>
                  <a:cubicBezTo>
                    <a:pt x="2489" y="610"/>
                    <a:pt x="2495" y="611"/>
                    <a:pt x="2500" y="609"/>
                  </a:cubicBezTo>
                  <a:cubicBezTo>
                    <a:pt x="2498" y="608"/>
                    <a:pt x="2496" y="608"/>
                    <a:pt x="2495" y="607"/>
                  </a:cubicBezTo>
                  <a:cubicBezTo>
                    <a:pt x="2497" y="607"/>
                    <a:pt x="2499" y="608"/>
                    <a:pt x="2501" y="608"/>
                  </a:cubicBezTo>
                  <a:cubicBezTo>
                    <a:pt x="2501" y="608"/>
                    <a:pt x="2501" y="607"/>
                    <a:pt x="2501" y="607"/>
                  </a:cubicBezTo>
                  <a:cubicBezTo>
                    <a:pt x="2500" y="606"/>
                    <a:pt x="2500" y="606"/>
                    <a:pt x="2498" y="604"/>
                  </a:cubicBezTo>
                  <a:cubicBezTo>
                    <a:pt x="2500" y="605"/>
                    <a:pt x="2506" y="606"/>
                    <a:pt x="2504" y="605"/>
                  </a:cubicBezTo>
                  <a:cubicBezTo>
                    <a:pt x="2505" y="604"/>
                    <a:pt x="2507" y="608"/>
                    <a:pt x="2505" y="603"/>
                  </a:cubicBezTo>
                  <a:cubicBezTo>
                    <a:pt x="2507" y="604"/>
                    <a:pt x="2510" y="605"/>
                    <a:pt x="2512" y="606"/>
                  </a:cubicBezTo>
                  <a:cubicBezTo>
                    <a:pt x="2512" y="606"/>
                    <a:pt x="2513" y="607"/>
                    <a:pt x="2513" y="607"/>
                  </a:cubicBezTo>
                  <a:cubicBezTo>
                    <a:pt x="2513" y="607"/>
                    <a:pt x="2513" y="606"/>
                    <a:pt x="2513" y="606"/>
                  </a:cubicBezTo>
                  <a:cubicBezTo>
                    <a:pt x="2533" y="613"/>
                    <a:pt x="2554" y="620"/>
                    <a:pt x="2573" y="624"/>
                  </a:cubicBezTo>
                  <a:cubicBezTo>
                    <a:pt x="2573" y="624"/>
                    <a:pt x="2570" y="622"/>
                    <a:pt x="2569" y="622"/>
                  </a:cubicBezTo>
                  <a:cubicBezTo>
                    <a:pt x="2570" y="622"/>
                    <a:pt x="2573" y="622"/>
                    <a:pt x="2574" y="621"/>
                  </a:cubicBezTo>
                  <a:cubicBezTo>
                    <a:pt x="2570" y="621"/>
                    <a:pt x="2566" y="621"/>
                    <a:pt x="2562" y="619"/>
                  </a:cubicBezTo>
                  <a:cubicBezTo>
                    <a:pt x="2563" y="619"/>
                    <a:pt x="2564" y="619"/>
                    <a:pt x="2566" y="618"/>
                  </a:cubicBezTo>
                  <a:cubicBezTo>
                    <a:pt x="2554" y="615"/>
                    <a:pt x="2540" y="609"/>
                    <a:pt x="2528" y="600"/>
                  </a:cubicBezTo>
                  <a:cubicBezTo>
                    <a:pt x="2531" y="600"/>
                    <a:pt x="2534" y="599"/>
                    <a:pt x="2536" y="598"/>
                  </a:cubicBezTo>
                  <a:cubicBezTo>
                    <a:pt x="2524" y="592"/>
                    <a:pt x="2427" y="560"/>
                    <a:pt x="2424" y="573"/>
                  </a:cubicBezTo>
                  <a:cubicBezTo>
                    <a:pt x="2413" y="574"/>
                    <a:pt x="2412" y="586"/>
                    <a:pt x="2401" y="575"/>
                  </a:cubicBezTo>
                  <a:cubicBezTo>
                    <a:pt x="2401" y="576"/>
                    <a:pt x="2400" y="576"/>
                    <a:pt x="2401" y="576"/>
                  </a:cubicBezTo>
                  <a:cubicBezTo>
                    <a:pt x="2393" y="568"/>
                    <a:pt x="2378" y="555"/>
                    <a:pt x="2367" y="567"/>
                  </a:cubicBezTo>
                  <a:cubicBezTo>
                    <a:pt x="2368" y="569"/>
                    <a:pt x="2382" y="576"/>
                    <a:pt x="2389" y="573"/>
                  </a:cubicBezTo>
                  <a:close/>
                  <a:moveTo>
                    <a:pt x="1639" y="31"/>
                  </a:moveTo>
                  <a:cubicBezTo>
                    <a:pt x="1637" y="31"/>
                    <a:pt x="1637" y="31"/>
                    <a:pt x="1637" y="32"/>
                  </a:cubicBezTo>
                  <a:cubicBezTo>
                    <a:pt x="1638" y="33"/>
                    <a:pt x="1641" y="36"/>
                    <a:pt x="1643" y="37"/>
                  </a:cubicBezTo>
                  <a:cubicBezTo>
                    <a:pt x="1638" y="51"/>
                    <a:pt x="1658" y="42"/>
                    <a:pt x="1666" y="37"/>
                  </a:cubicBezTo>
                  <a:cubicBezTo>
                    <a:pt x="1660" y="33"/>
                    <a:pt x="1652" y="32"/>
                    <a:pt x="1645" y="30"/>
                  </a:cubicBezTo>
                  <a:cubicBezTo>
                    <a:pt x="1644" y="30"/>
                    <a:pt x="1646" y="32"/>
                    <a:pt x="1646" y="32"/>
                  </a:cubicBezTo>
                  <a:cubicBezTo>
                    <a:pt x="1645" y="32"/>
                    <a:pt x="1645" y="32"/>
                    <a:pt x="1646" y="33"/>
                  </a:cubicBezTo>
                  <a:cubicBezTo>
                    <a:pt x="1642" y="31"/>
                    <a:pt x="1640" y="31"/>
                    <a:pt x="1637" y="30"/>
                  </a:cubicBezTo>
                  <a:cubicBezTo>
                    <a:pt x="1637" y="30"/>
                    <a:pt x="1639" y="31"/>
                    <a:pt x="1639" y="31"/>
                  </a:cubicBezTo>
                  <a:close/>
                  <a:moveTo>
                    <a:pt x="1593" y="29"/>
                  </a:moveTo>
                  <a:cubicBezTo>
                    <a:pt x="1593" y="30"/>
                    <a:pt x="1595" y="31"/>
                    <a:pt x="1596" y="31"/>
                  </a:cubicBezTo>
                  <a:cubicBezTo>
                    <a:pt x="1595" y="32"/>
                    <a:pt x="1593" y="34"/>
                    <a:pt x="1593" y="35"/>
                  </a:cubicBezTo>
                  <a:cubicBezTo>
                    <a:pt x="1604" y="35"/>
                    <a:pt x="1621" y="42"/>
                    <a:pt x="1634" y="37"/>
                  </a:cubicBezTo>
                  <a:cubicBezTo>
                    <a:pt x="1631" y="35"/>
                    <a:pt x="1627" y="33"/>
                    <a:pt x="1624" y="32"/>
                  </a:cubicBezTo>
                  <a:cubicBezTo>
                    <a:pt x="1624" y="32"/>
                    <a:pt x="1628" y="33"/>
                    <a:pt x="1628" y="32"/>
                  </a:cubicBezTo>
                  <a:cubicBezTo>
                    <a:pt x="1623" y="27"/>
                    <a:pt x="1616" y="24"/>
                    <a:pt x="1609" y="25"/>
                  </a:cubicBezTo>
                  <a:cubicBezTo>
                    <a:pt x="1613" y="30"/>
                    <a:pt x="1609" y="26"/>
                    <a:pt x="1610" y="31"/>
                  </a:cubicBezTo>
                  <a:cubicBezTo>
                    <a:pt x="1609" y="25"/>
                    <a:pt x="1604" y="23"/>
                    <a:pt x="1597" y="26"/>
                  </a:cubicBezTo>
                  <a:cubicBezTo>
                    <a:pt x="1596" y="28"/>
                    <a:pt x="1594" y="28"/>
                    <a:pt x="1593" y="29"/>
                  </a:cubicBezTo>
                  <a:close/>
                  <a:moveTo>
                    <a:pt x="1871" y="40"/>
                  </a:moveTo>
                  <a:cubicBezTo>
                    <a:pt x="1870" y="41"/>
                    <a:pt x="1868" y="39"/>
                    <a:pt x="1868" y="40"/>
                  </a:cubicBezTo>
                  <a:cubicBezTo>
                    <a:pt x="1876" y="43"/>
                    <a:pt x="1885" y="45"/>
                    <a:pt x="1893" y="44"/>
                  </a:cubicBezTo>
                  <a:cubicBezTo>
                    <a:pt x="1892" y="44"/>
                    <a:pt x="1890" y="42"/>
                    <a:pt x="1889" y="41"/>
                  </a:cubicBezTo>
                  <a:cubicBezTo>
                    <a:pt x="1896" y="41"/>
                    <a:pt x="1902" y="39"/>
                    <a:pt x="1908" y="37"/>
                  </a:cubicBezTo>
                  <a:cubicBezTo>
                    <a:pt x="1900" y="38"/>
                    <a:pt x="1889" y="34"/>
                    <a:pt x="1888" y="30"/>
                  </a:cubicBezTo>
                  <a:cubicBezTo>
                    <a:pt x="1884" y="29"/>
                    <a:pt x="1880" y="28"/>
                    <a:pt x="1876" y="28"/>
                  </a:cubicBezTo>
                  <a:cubicBezTo>
                    <a:pt x="1877" y="28"/>
                    <a:pt x="1879" y="28"/>
                    <a:pt x="1880" y="29"/>
                  </a:cubicBezTo>
                  <a:cubicBezTo>
                    <a:pt x="1880" y="30"/>
                    <a:pt x="1873" y="29"/>
                    <a:pt x="1882" y="34"/>
                  </a:cubicBezTo>
                  <a:cubicBezTo>
                    <a:pt x="1875" y="32"/>
                    <a:pt x="1855" y="25"/>
                    <a:pt x="1862" y="35"/>
                  </a:cubicBezTo>
                  <a:cubicBezTo>
                    <a:pt x="1863" y="36"/>
                    <a:pt x="1866" y="39"/>
                    <a:pt x="1871" y="40"/>
                  </a:cubicBezTo>
                  <a:close/>
                  <a:moveTo>
                    <a:pt x="2302" y="556"/>
                  </a:moveTo>
                  <a:cubicBezTo>
                    <a:pt x="2303" y="550"/>
                    <a:pt x="2289" y="554"/>
                    <a:pt x="2279" y="555"/>
                  </a:cubicBezTo>
                  <a:cubicBezTo>
                    <a:pt x="2270" y="555"/>
                    <a:pt x="2248" y="552"/>
                    <a:pt x="2259" y="566"/>
                  </a:cubicBezTo>
                  <a:cubicBezTo>
                    <a:pt x="2247" y="568"/>
                    <a:pt x="2263" y="595"/>
                    <a:pt x="2275" y="594"/>
                  </a:cubicBezTo>
                  <a:cubicBezTo>
                    <a:pt x="2273" y="588"/>
                    <a:pt x="2271" y="583"/>
                    <a:pt x="2269" y="578"/>
                  </a:cubicBezTo>
                  <a:cubicBezTo>
                    <a:pt x="2278" y="577"/>
                    <a:pt x="2279" y="587"/>
                    <a:pt x="2290" y="589"/>
                  </a:cubicBezTo>
                  <a:cubicBezTo>
                    <a:pt x="2289" y="589"/>
                    <a:pt x="2297" y="586"/>
                    <a:pt x="2299" y="585"/>
                  </a:cubicBezTo>
                  <a:cubicBezTo>
                    <a:pt x="2293" y="584"/>
                    <a:pt x="2290" y="581"/>
                    <a:pt x="2289" y="581"/>
                  </a:cubicBezTo>
                  <a:cubicBezTo>
                    <a:pt x="2287" y="579"/>
                    <a:pt x="2281" y="574"/>
                    <a:pt x="2276" y="572"/>
                  </a:cubicBezTo>
                  <a:cubicBezTo>
                    <a:pt x="2282" y="570"/>
                    <a:pt x="2289" y="567"/>
                    <a:pt x="2294" y="565"/>
                  </a:cubicBezTo>
                  <a:cubicBezTo>
                    <a:pt x="2289" y="565"/>
                    <a:pt x="2253" y="572"/>
                    <a:pt x="2261" y="559"/>
                  </a:cubicBezTo>
                  <a:cubicBezTo>
                    <a:pt x="2264" y="553"/>
                    <a:pt x="2296" y="561"/>
                    <a:pt x="2302" y="556"/>
                  </a:cubicBezTo>
                  <a:close/>
                  <a:moveTo>
                    <a:pt x="2266" y="355"/>
                  </a:moveTo>
                  <a:cubicBezTo>
                    <a:pt x="2266" y="355"/>
                    <a:pt x="2266" y="355"/>
                    <a:pt x="2266" y="355"/>
                  </a:cubicBezTo>
                  <a:cubicBezTo>
                    <a:pt x="2266" y="355"/>
                    <a:pt x="2266" y="355"/>
                    <a:pt x="2266" y="355"/>
                  </a:cubicBezTo>
                  <a:close/>
                  <a:moveTo>
                    <a:pt x="2303" y="342"/>
                  </a:moveTo>
                  <a:cubicBezTo>
                    <a:pt x="2300" y="337"/>
                    <a:pt x="2297" y="332"/>
                    <a:pt x="2293" y="328"/>
                  </a:cubicBezTo>
                  <a:cubicBezTo>
                    <a:pt x="2295" y="327"/>
                    <a:pt x="2297" y="328"/>
                    <a:pt x="2298" y="328"/>
                  </a:cubicBezTo>
                  <a:cubicBezTo>
                    <a:pt x="2293" y="318"/>
                    <a:pt x="2283" y="309"/>
                    <a:pt x="2272" y="306"/>
                  </a:cubicBezTo>
                  <a:cubicBezTo>
                    <a:pt x="2272" y="306"/>
                    <a:pt x="2272" y="307"/>
                    <a:pt x="2272" y="307"/>
                  </a:cubicBezTo>
                  <a:cubicBezTo>
                    <a:pt x="2274" y="308"/>
                    <a:pt x="2275" y="307"/>
                    <a:pt x="2277" y="308"/>
                  </a:cubicBezTo>
                  <a:cubicBezTo>
                    <a:pt x="2273" y="308"/>
                    <a:pt x="2275" y="310"/>
                    <a:pt x="2269" y="308"/>
                  </a:cubicBezTo>
                  <a:cubicBezTo>
                    <a:pt x="2270" y="313"/>
                    <a:pt x="2269" y="311"/>
                    <a:pt x="2273" y="314"/>
                  </a:cubicBezTo>
                  <a:cubicBezTo>
                    <a:pt x="2273" y="317"/>
                    <a:pt x="2270" y="316"/>
                    <a:pt x="2270" y="316"/>
                  </a:cubicBezTo>
                  <a:cubicBezTo>
                    <a:pt x="2293" y="320"/>
                    <a:pt x="2269" y="348"/>
                    <a:pt x="2268" y="334"/>
                  </a:cubicBezTo>
                  <a:cubicBezTo>
                    <a:pt x="2268" y="334"/>
                    <a:pt x="2264" y="335"/>
                    <a:pt x="2264" y="335"/>
                  </a:cubicBezTo>
                  <a:cubicBezTo>
                    <a:pt x="2266" y="340"/>
                    <a:pt x="2266" y="344"/>
                    <a:pt x="2266" y="347"/>
                  </a:cubicBezTo>
                  <a:cubicBezTo>
                    <a:pt x="2257" y="346"/>
                    <a:pt x="2243" y="349"/>
                    <a:pt x="2235" y="357"/>
                  </a:cubicBezTo>
                  <a:cubicBezTo>
                    <a:pt x="2234" y="357"/>
                    <a:pt x="2237" y="359"/>
                    <a:pt x="2237" y="359"/>
                  </a:cubicBezTo>
                  <a:cubicBezTo>
                    <a:pt x="2235" y="361"/>
                    <a:pt x="2232" y="362"/>
                    <a:pt x="2229" y="364"/>
                  </a:cubicBezTo>
                  <a:cubicBezTo>
                    <a:pt x="2230" y="365"/>
                    <a:pt x="2232" y="364"/>
                    <a:pt x="2232" y="366"/>
                  </a:cubicBezTo>
                  <a:cubicBezTo>
                    <a:pt x="2234" y="367"/>
                    <a:pt x="2234" y="367"/>
                    <a:pt x="2237" y="367"/>
                  </a:cubicBezTo>
                  <a:cubicBezTo>
                    <a:pt x="2237" y="367"/>
                    <a:pt x="2234" y="364"/>
                    <a:pt x="2234" y="366"/>
                  </a:cubicBezTo>
                  <a:cubicBezTo>
                    <a:pt x="2234" y="366"/>
                    <a:pt x="2234" y="364"/>
                    <a:pt x="2234" y="364"/>
                  </a:cubicBezTo>
                  <a:cubicBezTo>
                    <a:pt x="2238" y="368"/>
                    <a:pt x="2238" y="367"/>
                    <a:pt x="2238" y="369"/>
                  </a:cubicBezTo>
                  <a:cubicBezTo>
                    <a:pt x="2238" y="369"/>
                    <a:pt x="2238" y="369"/>
                    <a:pt x="2238" y="370"/>
                  </a:cubicBezTo>
                  <a:cubicBezTo>
                    <a:pt x="2238" y="370"/>
                    <a:pt x="2238" y="370"/>
                    <a:pt x="2238" y="370"/>
                  </a:cubicBezTo>
                  <a:cubicBezTo>
                    <a:pt x="2242" y="375"/>
                    <a:pt x="2244" y="376"/>
                    <a:pt x="2248" y="377"/>
                  </a:cubicBezTo>
                  <a:cubicBezTo>
                    <a:pt x="2246" y="375"/>
                    <a:pt x="2246" y="375"/>
                    <a:pt x="2246" y="373"/>
                  </a:cubicBezTo>
                  <a:cubicBezTo>
                    <a:pt x="2247" y="375"/>
                    <a:pt x="2250" y="377"/>
                    <a:pt x="2251" y="377"/>
                  </a:cubicBezTo>
                  <a:cubicBezTo>
                    <a:pt x="2251" y="377"/>
                    <a:pt x="2252" y="375"/>
                    <a:pt x="2250" y="375"/>
                  </a:cubicBezTo>
                  <a:cubicBezTo>
                    <a:pt x="2251" y="374"/>
                    <a:pt x="2252" y="375"/>
                    <a:pt x="2253" y="375"/>
                  </a:cubicBezTo>
                  <a:cubicBezTo>
                    <a:pt x="2252" y="368"/>
                    <a:pt x="2250" y="364"/>
                    <a:pt x="2245" y="363"/>
                  </a:cubicBezTo>
                  <a:cubicBezTo>
                    <a:pt x="2246" y="363"/>
                    <a:pt x="2241" y="360"/>
                    <a:pt x="2238" y="359"/>
                  </a:cubicBezTo>
                  <a:cubicBezTo>
                    <a:pt x="2242" y="359"/>
                    <a:pt x="2244" y="359"/>
                    <a:pt x="2247" y="359"/>
                  </a:cubicBezTo>
                  <a:cubicBezTo>
                    <a:pt x="2247" y="358"/>
                    <a:pt x="2245" y="357"/>
                    <a:pt x="2246" y="356"/>
                  </a:cubicBezTo>
                  <a:cubicBezTo>
                    <a:pt x="2251" y="357"/>
                    <a:pt x="2257" y="356"/>
                    <a:pt x="2262" y="355"/>
                  </a:cubicBezTo>
                  <a:cubicBezTo>
                    <a:pt x="2264" y="355"/>
                    <a:pt x="2265" y="355"/>
                    <a:pt x="2266" y="355"/>
                  </a:cubicBezTo>
                  <a:cubicBezTo>
                    <a:pt x="2267" y="354"/>
                    <a:pt x="2268" y="354"/>
                    <a:pt x="2269" y="354"/>
                  </a:cubicBezTo>
                  <a:cubicBezTo>
                    <a:pt x="2273" y="354"/>
                    <a:pt x="2277" y="365"/>
                    <a:pt x="2283" y="355"/>
                  </a:cubicBezTo>
                  <a:cubicBezTo>
                    <a:pt x="2282" y="354"/>
                    <a:pt x="2279" y="352"/>
                    <a:pt x="2278" y="351"/>
                  </a:cubicBezTo>
                  <a:cubicBezTo>
                    <a:pt x="2279" y="352"/>
                    <a:pt x="2282" y="352"/>
                    <a:pt x="2285" y="352"/>
                  </a:cubicBezTo>
                  <a:cubicBezTo>
                    <a:pt x="2285" y="352"/>
                    <a:pt x="2283" y="353"/>
                    <a:pt x="2283" y="353"/>
                  </a:cubicBezTo>
                  <a:cubicBezTo>
                    <a:pt x="2287" y="353"/>
                    <a:pt x="2290" y="353"/>
                    <a:pt x="2293" y="352"/>
                  </a:cubicBezTo>
                  <a:cubicBezTo>
                    <a:pt x="2294" y="352"/>
                    <a:pt x="2293" y="349"/>
                    <a:pt x="2298" y="352"/>
                  </a:cubicBezTo>
                  <a:cubicBezTo>
                    <a:pt x="2298" y="348"/>
                    <a:pt x="2299" y="348"/>
                    <a:pt x="2299" y="346"/>
                  </a:cubicBezTo>
                  <a:cubicBezTo>
                    <a:pt x="2298" y="345"/>
                    <a:pt x="2302" y="345"/>
                    <a:pt x="2302" y="346"/>
                  </a:cubicBezTo>
                  <a:cubicBezTo>
                    <a:pt x="2307" y="351"/>
                    <a:pt x="2310" y="348"/>
                    <a:pt x="2303" y="342"/>
                  </a:cubicBezTo>
                  <a:close/>
                  <a:moveTo>
                    <a:pt x="1885" y="512"/>
                  </a:moveTo>
                  <a:cubicBezTo>
                    <a:pt x="1883" y="510"/>
                    <a:pt x="1880" y="507"/>
                    <a:pt x="1875" y="506"/>
                  </a:cubicBezTo>
                  <a:cubicBezTo>
                    <a:pt x="1874" y="507"/>
                    <a:pt x="1873" y="507"/>
                    <a:pt x="1871" y="509"/>
                  </a:cubicBezTo>
                  <a:cubicBezTo>
                    <a:pt x="1872" y="510"/>
                    <a:pt x="1872" y="511"/>
                    <a:pt x="1873" y="513"/>
                  </a:cubicBezTo>
                  <a:cubicBezTo>
                    <a:pt x="1872" y="513"/>
                    <a:pt x="1872" y="514"/>
                    <a:pt x="1873" y="515"/>
                  </a:cubicBezTo>
                  <a:cubicBezTo>
                    <a:pt x="1873" y="514"/>
                    <a:pt x="1873" y="513"/>
                    <a:pt x="1873" y="513"/>
                  </a:cubicBezTo>
                  <a:cubicBezTo>
                    <a:pt x="1878" y="522"/>
                    <a:pt x="1888" y="536"/>
                    <a:pt x="1894" y="520"/>
                  </a:cubicBezTo>
                  <a:cubicBezTo>
                    <a:pt x="1892" y="516"/>
                    <a:pt x="1889" y="513"/>
                    <a:pt x="1885" y="512"/>
                  </a:cubicBezTo>
                  <a:close/>
                  <a:moveTo>
                    <a:pt x="1611" y="629"/>
                  </a:moveTo>
                  <a:cubicBezTo>
                    <a:pt x="1609" y="633"/>
                    <a:pt x="1608" y="630"/>
                    <a:pt x="1605" y="631"/>
                  </a:cubicBezTo>
                  <a:cubicBezTo>
                    <a:pt x="1608" y="638"/>
                    <a:pt x="1605" y="640"/>
                    <a:pt x="1598" y="639"/>
                  </a:cubicBezTo>
                  <a:cubicBezTo>
                    <a:pt x="1599" y="640"/>
                    <a:pt x="1600" y="642"/>
                    <a:pt x="1601" y="642"/>
                  </a:cubicBezTo>
                  <a:cubicBezTo>
                    <a:pt x="1601" y="644"/>
                    <a:pt x="1598" y="642"/>
                    <a:pt x="1597" y="643"/>
                  </a:cubicBezTo>
                  <a:cubicBezTo>
                    <a:pt x="1598" y="645"/>
                    <a:pt x="1599" y="644"/>
                    <a:pt x="1600" y="645"/>
                  </a:cubicBezTo>
                  <a:cubicBezTo>
                    <a:pt x="1598" y="645"/>
                    <a:pt x="1597" y="647"/>
                    <a:pt x="1594" y="648"/>
                  </a:cubicBezTo>
                  <a:cubicBezTo>
                    <a:pt x="1597" y="645"/>
                    <a:pt x="1592" y="646"/>
                    <a:pt x="1592" y="646"/>
                  </a:cubicBezTo>
                  <a:cubicBezTo>
                    <a:pt x="1593" y="648"/>
                    <a:pt x="1592" y="647"/>
                    <a:pt x="1593" y="650"/>
                  </a:cubicBezTo>
                  <a:cubicBezTo>
                    <a:pt x="1587" y="650"/>
                    <a:pt x="1591" y="649"/>
                    <a:pt x="1586" y="654"/>
                  </a:cubicBezTo>
                  <a:cubicBezTo>
                    <a:pt x="1574" y="651"/>
                    <a:pt x="1565" y="654"/>
                    <a:pt x="1562" y="667"/>
                  </a:cubicBezTo>
                  <a:cubicBezTo>
                    <a:pt x="1562" y="671"/>
                    <a:pt x="1567" y="673"/>
                    <a:pt x="1567" y="676"/>
                  </a:cubicBezTo>
                  <a:cubicBezTo>
                    <a:pt x="1566" y="681"/>
                    <a:pt x="1562" y="681"/>
                    <a:pt x="1561" y="685"/>
                  </a:cubicBezTo>
                  <a:cubicBezTo>
                    <a:pt x="1559" y="691"/>
                    <a:pt x="1550" y="694"/>
                    <a:pt x="1561" y="701"/>
                  </a:cubicBezTo>
                  <a:cubicBezTo>
                    <a:pt x="1550" y="718"/>
                    <a:pt x="1590" y="712"/>
                    <a:pt x="1597" y="703"/>
                  </a:cubicBezTo>
                  <a:cubicBezTo>
                    <a:pt x="1606" y="691"/>
                    <a:pt x="1619" y="663"/>
                    <a:pt x="1615" y="650"/>
                  </a:cubicBezTo>
                  <a:cubicBezTo>
                    <a:pt x="1616" y="651"/>
                    <a:pt x="1619" y="652"/>
                    <a:pt x="1621" y="653"/>
                  </a:cubicBezTo>
                  <a:cubicBezTo>
                    <a:pt x="1623" y="650"/>
                    <a:pt x="1620" y="650"/>
                    <a:pt x="1620" y="647"/>
                  </a:cubicBezTo>
                  <a:cubicBezTo>
                    <a:pt x="1620" y="640"/>
                    <a:pt x="1615" y="633"/>
                    <a:pt x="1611" y="629"/>
                  </a:cubicBezTo>
                  <a:close/>
                  <a:moveTo>
                    <a:pt x="2022" y="476"/>
                  </a:moveTo>
                  <a:cubicBezTo>
                    <a:pt x="2013" y="458"/>
                    <a:pt x="1990" y="473"/>
                    <a:pt x="1990" y="467"/>
                  </a:cubicBezTo>
                  <a:cubicBezTo>
                    <a:pt x="1989" y="467"/>
                    <a:pt x="1987" y="470"/>
                    <a:pt x="1987" y="470"/>
                  </a:cubicBezTo>
                  <a:cubicBezTo>
                    <a:pt x="1987" y="462"/>
                    <a:pt x="1982" y="455"/>
                    <a:pt x="1974" y="451"/>
                  </a:cubicBezTo>
                  <a:cubicBezTo>
                    <a:pt x="1975" y="453"/>
                    <a:pt x="1966" y="450"/>
                    <a:pt x="1958" y="444"/>
                  </a:cubicBezTo>
                  <a:cubicBezTo>
                    <a:pt x="1950" y="438"/>
                    <a:pt x="1945" y="431"/>
                    <a:pt x="1934" y="429"/>
                  </a:cubicBezTo>
                  <a:cubicBezTo>
                    <a:pt x="1936" y="431"/>
                    <a:pt x="1937" y="433"/>
                    <a:pt x="1938" y="435"/>
                  </a:cubicBezTo>
                  <a:cubicBezTo>
                    <a:pt x="1933" y="434"/>
                    <a:pt x="1923" y="434"/>
                    <a:pt x="1917" y="439"/>
                  </a:cubicBezTo>
                  <a:cubicBezTo>
                    <a:pt x="1911" y="438"/>
                    <a:pt x="1885" y="462"/>
                    <a:pt x="1877" y="468"/>
                  </a:cubicBezTo>
                  <a:cubicBezTo>
                    <a:pt x="1866" y="476"/>
                    <a:pt x="1867" y="469"/>
                    <a:pt x="1866" y="482"/>
                  </a:cubicBezTo>
                  <a:cubicBezTo>
                    <a:pt x="1866" y="491"/>
                    <a:pt x="1875" y="498"/>
                    <a:pt x="1864" y="505"/>
                  </a:cubicBezTo>
                  <a:cubicBezTo>
                    <a:pt x="1865" y="506"/>
                    <a:pt x="1866" y="507"/>
                    <a:pt x="1867" y="508"/>
                  </a:cubicBezTo>
                  <a:cubicBezTo>
                    <a:pt x="1844" y="514"/>
                    <a:pt x="1840" y="505"/>
                    <a:pt x="1821" y="488"/>
                  </a:cubicBezTo>
                  <a:cubicBezTo>
                    <a:pt x="1807" y="475"/>
                    <a:pt x="1793" y="446"/>
                    <a:pt x="1779" y="438"/>
                  </a:cubicBezTo>
                  <a:cubicBezTo>
                    <a:pt x="1776" y="451"/>
                    <a:pt x="1759" y="441"/>
                    <a:pt x="1750" y="436"/>
                  </a:cubicBezTo>
                  <a:cubicBezTo>
                    <a:pt x="1754" y="436"/>
                    <a:pt x="1758" y="435"/>
                    <a:pt x="1762" y="433"/>
                  </a:cubicBezTo>
                  <a:cubicBezTo>
                    <a:pt x="1745" y="437"/>
                    <a:pt x="1733" y="421"/>
                    <a:pt x="1716" y="419"/>
                  </a:cubicBezTo>
                  <a:cubicBezTo>
                    <a:pt x="1696" y="415"/>
                    <a:pt x="1671" y="424"/>
                    <a:pt x="1651" y="418"/>
                  </a:cubicBezTo>
                  <a:cubicBezTo>
                    <a:pt x="1643" y="416"/>
                    <a:pt x="1637" y="411"/>
                    <a:pt x="1630" y="410"/>
                  </a:cubicBezTo>
                  <a:cubicBezTo>
                    <a:pt x="1623" y="409"/>
                    <a:pt x="1615" y="412"/>
                    <a:pt x="1607" y="411"/>
                  </a:cubicBezTo>
                  <a:cubicBezTo>
                    <a:pt x="1596" y="409"/>
                    <a:pt x="1590" y="403"/>
                    <a:pt x="1581" y="400"/>
                  </a:cubicBezTo>
                  <a:cubicBezTo>
                    <a:pt x="1571" y="397"/>
                    <a:pt x="1567" y="396"/>
                    <a:pt x="1558" y="395"/>
                  </a:cubicBezTo>
                  <a:cubicBezTo>
                    <a:pt x="1557" y="396"/>
                    <a:pt x="1558" y="397"/>
                    <a:pt x="1559" y="397"/>
                  </a:cubicBezTo>
                  <a:cubicBezTo>
                    <a:pt x="1557" y="398"/>
                    <a:pt x="1556" y="398"/>
                    <a:pt x="1554" y="398"/>
                  </a:cubicBezTo>
                  <a:cubicBezTo>
                    <a:pt x="1557" y="398"/>
                    <a:pt x="1558" y="399"/>
                    <a:pt x="1560" y="401"/>
                  </a:cubicBezTo>
                  <a:cubicBezTo>
                    <a:pt x="1566" y="408"/>
                    <a:pt x="1579" y="416"/>
                    <a:pt x="1588" y="423"/>
                  </a:cubicBezTo>
                  <a:cubicBezTo>
                    <a:pt x="1588" y="423"/>
                    <a:pt x="1587" y="422"/>
                    <a:pt x="1587" y="422"/>
                  </a:cubicBezTo>
                  <a:cubicBezTo>
                    <a:pt x="1587" y="412"/>
                    <a:pt x="1594" y="417"/>
                    <a:pt x="1590" y="423"/>
                  </a:cubicBezTo>
                  <a:cubicBezTo>
                    <a:pt x="1591" y="425"/>
                    <a:pt x="1593" y="426"/>
                    <a:pt x="1595" y="427"/>
                  </a:cubicBezTo>
                  <a:cubicBezTo>
                    <a:pt x="1598" y="427"/>
                    <a:pt x="1615" y="428"/>
                    <a:pt x="1622" y="424"/>
                  </a:cubicBezTo>
                  <a:cubicBezTo>
                    <a:pt x="1623" y="422"/>
                    <a:pt x="1631" y="416"/>
                    <a:pt x="1634" y="414"/>
                  </a:cubicBezTo>
                  <a:cubicBezTo>
                    <a:pt x="1630" y="425"/>
                    <a:pt x="1689" y="439"/>
                    <a:pt x="1656" y="449"/>
                  </a:cubicBezTo>
                  <a:cubicBezTo>
                    <a:pt x="1657" y="451"/>
                    <a:pt x="1657" y="452"/>
                    <a:pt x="1658" y="454"/>
                  </a:cubicBezTo>
                  <a:cubicBezTo>
                    <a:pt x="1645" y="461"/>
                    <a:pt x="1631" y="469"/>
                    <a:pt x="1615" y="464"/>
                  </a:cubicBezTo>
                  <a:cubicBezTo>
                    <a:pt x="1617" y="465"/>
                    <a:pt x="1619" y="466"/>
                    <a:pt x="1621" y="467"/>
                  </a:cubicBezTo>
                  <a:cubicBezTo>
                    <a:pt x="1615" y="470"/>
                    <a:pt x="1616" y="470"/>
                    <a:pt x="1614" y="473"/>
                  </a:cubicBezTo>
                  <a:cubicBezTo>
                    <a:pt x="1595" y="478"/>
                    <a:pt x="1579" y="481"/>
                    <a:pt x="1561" y="485"/>
                  </a:cubicBezTo>
                  <a:cubicBezTo>
                    <a:pt x="1540" y="489"/>
                    <a:pt x="1541" y="489"/>
                    <a:pt x="1527" y="473"/>
                  </a:cubicBezTo>
                  <a:cubicBezTo>
                    <a:pt x="1530" y="470"/>
                    <a:pt x="1528" y="473"/>
                    <a:pt x="1528" y="468"/>
                  </a:cubicBezTo>
                  <a:cubicBezTo>
                    <a:pt x="1530" y="467"/>
                    <a:pt x="1529" y="468"/>
                    <a:pt x="1531" y="467"/>
                  </a:cubicBezTo>
                  <a:cubicBezTo>
                    <a:pt x="1512" y="461"/>
                    <a:pt x="1500" y="444"/>
                    <a:pt x="1486" y="433"/>
                  </a:cubicBezTo>
                  <a:cubicBezTo>
                    <a:pt x="1475" y="423"/>
                    <a:pt x="1449" y="413"/>
                    <a:pt x="1445" y="399"/>
                  </a:cubicBezTo>
                  <a:cubicBezTo>
                    <a:pt x="1445" y="402"/>
                    <a:pt x="1444" y="404"/>
                    <a:pt x="1444" y="407"/>
                  </a:cubicBezTo>
                  <a:cubicBezTo>
                    <a:pt x="1437" y="406"/>
                    <a:pt x="1430" y="403"/>
                    <a:pt x="1426" y="397"/>
                  </a:cubicBezTo>
                  <a:cubicBezTo>
                    <a:pt x="1433" y="408"/>
                    <a:pt x="1447" y="419"/>
                    <a:pt x="1458" y="428"/>
                  </a:cubicBezTo>
                  <a:cubicBezTo>
                    <a:pt x="1463" y="433"/>
                    <a:pt x="1471" y="447"/>
                    <a:pt x="1477" y="452"/>
                  </a:cubicBezTo>
                  <a:cubicBezTo>
                    <a:pt x="1484" y="460"/>
                    <a:pt x="1499" y="471"/>
                    <a:pt x="1506" y="475"/>
                  </a:cubicBezTo>
                  <a:cubicBezTo>
                    <a:pt x="1514" y="481"/>
                    <a:pt x="1537" y="484"/>
                    <a:pt x="1536" y="494"/>
                  </a:cubicBezTo>
                  <a:cubicBezTo>
                    <a:pt x="1551" y="509"/>
                    <a:pt x="1590" y="498"/>
                    <a:pt x="1609" y="494"/>
                  </a:cubicBezTo>
                  <a:cubicBezTo>
                    <a:pt x="1615" y="522"/>
                    <a:pt x="1576" y="541"/>
                    <a:pt x="1556" y="552"/>
                  </a:cubicBezTo>
                  <a:cubicBezTo>
                    <a:pt x="1547" y="557"/>
                    <a:pt x="1493" y="590"/>
                    <a:pt x="1516" y="599"/>
                  </a:cubicBezTo>
                  <a:cubicBezTo>
                    <a:pt x="1509" y="612"/>
                    <a:pt x="1536" y="628"/>
                    <a:pt x="1531" y="645"/>
                  </a:cubicBezTo>
                  <a:cubicBezTo>
                    <a:pt x="1522" y="669"/>
                    <a:pt x="1482" y="659"/>
                    <a:pt x="1477" y="685"/>
                  </a:cubicBezTo>
                  <a:cubicBezTo>
                    <a:pt x="1476" y="691"/>
                    <a:pt x="1487" y="697"/>
                    <a:pt x="1480" y="706"/>
                  </a:cubicBezTo>
                  <a:cubicBezTo>
                    <a:pt x="1474" y="713"/>
                    <a:pt x="1460" y="713"/>
                    <a:pt x="1455" y="718"/>
                  </a:cubicBezTo>
                  <a:cubicBezTo>
                    <a:pt x="1455" y="719"/>
                    <a:pt x="1454" y="729"/>
                    <a:pt x="1452" y="732"/>
                  </a:cubicBezTo>
                  <a:cubicBezTo>
                    <a:pt x="1449" y="737"/>
                    <a:pt x="1443" y="739"/>
                    <a:pt x="1439" y="742"/>
                  </a:cubicBezTo>
                  <a:cubicBezTo>
                    <a:pt x="1431" y="750"/>
                    <a:pt x="1425" y="756"/>
                    <a:pt x="1415" y="762"/>
                  </a:cubicBezTo>
                  <a:cubicBezTo>
                    <a:pt x="1394" y="775"/>
                    <a:pt x="1324" y="789"/>
                    <a:pt x="1311" y="767"/>
                  </a:cubicBezTo>
                  <a:cubicBezTo>
                    <a:pt x="1309" y="763"/>
                    <a:pt x="1310" y="753"/>
                    <a:pt x="1303" y="744"/>
                  </a:cubicBezTo>
                  <a:cubicBezTo>
                    <a:pt x="1299" y="739"/>
                    <a:pt x="1294" y="735"/>
                    <a:pt x="1290" y="729"/>
                  </a:cubicBezTo>
                  <a:cubicBezTo>
                    <a:pt x="1279" y="714"/>
                    <a:pt x="1279" y="696"/>
                    <a:pt x="1268" y="682"/>
                  </a:cubicBezTo>
                  <a:cubicBezTo>
                    <a:pt x="1254" y="663"/>
                    <a:pt x="1250" y="656"/>
                    <a:pt x="1263" y="637"/>
                  </a:cubicBezTo>
                  <a:cubicBezTo>
                    <a:pt x="1272" y="623"/>
                    <a:pt x="1272" y="632"/>
                    <a:pt x="1268" y="614"/>
                  </a:cubicBezTo>
                  <a:cubicBezTo>
                    <a:pt x="1266" y="607"/>
                    <a:pt x="1264" y="598"/>
                    <a:pt x="1263" y="594"/>
                  </a:cubicBezTo>
                  <a:cubicBezTo>
                    <a:pt x="1254" y="585"/>
                    <a:pt x="1235" y="576"/>
                    <a:pt x="1227" y="563"/>
                  </a:cubicBezTo>
                  <a:cubicBezTo>
                    <a:pt x="1230" y="560"/>
                    <a:pt x="1233" y="559"/>
                    <a:pt x="1237" y="558"/>
                  </a:cubicBezTo>
                  <a:cubicBezTo>
                    <a:pt x="1226" y="553"/>
                    <a:pt x="1242" y="550"/>
                    <a:pt x="1236" y="540"/>
                  </a:cubicBezTo>
                  <a:cubicBezTo>
                    <a:pt x="1230" y="529"/>
                    <a:pt x="1224" y="537"/>
                    <a:pt x="1212" y="535"/>
                  </a:cubicBezTo>
                  <a:cubicBezTo>
                    <a:pt x="1198" y="533"/>
                    <a:pt x="1196" y="526"/>
                    <a:pt x="1183" y="522"/>
                  </a:cubicBezTo>
                  <a:cubicBezTo>
                    <a:pt x="1174" y="520"/>
                    <a:pt x="1160" y="525"/>
                    <a:pt x="1151" y="527"/>
                  </a:cubicBezTo>
                  <a:cubicBezTo>
                    <a:pt x="1130" y="532"/>
                    <a:pt x="1095" y="537"/>
                    <a:pt x="1074" y="532"/>
                  </a:cubicBezTo>
                  <a:cubicBezTo>
                    <a:pt x="1048" y="527"/>
                    <a:pt x="1032" y="504"/>
                    <a:pt x="1013" y="497"/>
                  </a:cubicBezTo>
                  <a:cubicBezTo>
                    <a:pt x="1015" y="496"/>
                    <a:pt x="1016" y="495"/>
                    <a:pt x="1017" y="494"/>
                  </a:cubicBezTo>
                  <a:cubicBezTo>
                    <a:pt x="1014" y="494"/>
                    <a:pt x="1005" y="490"/>
                    <a:pt x="1007" y="491"/>
                  </a:cubicBezTo>
                  <a:cubicBezTo>
                    <a:pt x="1005" y="490"/>
                    <a:pt x="1001" y="491"/>
                    <a:pt x="1006" y="488"/>
                  </a:cubicBezTo>
                  <a:cubicBezTo>
                    <a:pt x="1004" y="488"/>
                    <a:pt x="1004" y="488"/>
                    <a:pt x="1001" y="488"/>
                  </a:cubicBezTo>
                  <a:cubicBezTo>
                    <a:pt x="1002" y="482"/>
                    <a:pt x="1003" y="486"/>
                    <a:pt x="1007" y="486"/>
                  </a:cubicBezTo>
                  <a:cubicBezTo>
                    <a:pt x="1003" y="483"/>
                    <a:pt x="1000" y="480"/>
                    <a:pt x="997" y="477"/>
                  </a:cubicBezTo>
                  <a:cubicBezTo>
                    <a:pt x="1010" y="471"/>
                    <a:pt x="1017" y="447"/>
                    <a:pt x="1005" y="446"/>
                  </a:cubicBezTo>
                  <a:cubicBezTo>
                    <a:pt x="1009" y="419"/>
                    <a:pt x="1046" y="415"/>
                    <a:pt x="1064" y="403"/>
                  </a:cubicBezTo>
                  <a:cubicBezTo>
                    <a:pt x="1074" y="396"/>
                    <a:pt x="1073" y="387"/>
                    <a:pt x="1079" y="382"/>
                  </a:cubicBezTo>
                  <a:cubicBezTo>
                    <a:pt x="1082" y="379"/>
                    <a:pt x="1102" y="369"/>
                    <a:pt x="1105" y="368"/>
                  </a:cubicBezTo>
                  <a:cubicBezTo>
                    <a:pt x="1112" y="366"/>
                    <a:pt x="1127" y="370"/>
                    <a:pt x="1138" y="369"/>
                  </a:cubicBezTo>
                  <a:cubicBezTo>
                    <a:pt x="1149" y="367"/>
                    <a:pt x="1160" y="362"/>
                    <a:pt x="1172" y="361"/>
                  </a:cubicBezTo>
                  <a:cubicBezTo>
                    <a:pt x="1194" y="358"/>
                    <a:pt x="1219" y="357"/>
                    <a:pt x="1240" y="358"/>
                  </a:cubicBezTo>
                  <a:cubicBezTo>
                    <a:pt x="1239" y="360"/>
                    <a:pt x="1238" y="362"/>
                    <a:pt x="1236" y="364"/>
                  </a:cubicBezTo>
                  <a:cubicBezTo>
                    <a:pt x="1242" y="369"/>
                    <a:pt x="1241" y="370"/>
                    <a:pt x="1234" y="374"/>
                  </a:cubicBezTo>
                  <a:cubicBezTo>
                    <a:pt x="1246" y="382"/>
                    <a:pt x="1270" y="385"/>
                    <a:pt x="1281" y="389"/>
                  </a:cubicBezTo>
                  <a:cubicBezTo>
                    <a:pt x="1287" y="390"/>
                    <a:pt x="1301" y="394"/>
                    <a:pt x="1306" y="394"/>
                  </a:cubicBezTo>
                  <a:cubicBezTo>
                    <a:pt x="1323" y="393"/>
                    <a:pt x="1311" y="387"/>
                    <a:pt x="1318" y="383"/>
                  </a:cubicBezTo>
                  <a:cubicBezTo>
                    <a:pt x="1334" y="375"/>
                    <a:pt x="1360" y="385"/>
                    <a:pt x="1376" y="388"/>
                  </a:cubicBezTo>
                  <a:cubicBezTo>
                    <a:pt x="1390" y="390"/>
                    <a:pt x="1410" y="384"/>
                    <a:pt x="1421" y="391"/>
                  </a:cubicBezTo>
                  <a:cubicBezTo>
                    <a:pt x="1423" y="389"/>
                    <a:pt x="1434" y="388"/>
                    <a:pt x="1440" y="392"/>
                  </a:cubicBezTo>
                  <a:cubicBezTo>
                    <a:pt x="1437" y="385"/>
                    <a:pt x="1446" y="366"/>
                    <a:pt x="1447" y="359"/>
                  </a:cubicBezTo>
                  <a:cubicBezTo>
                    <a:pt x="1423" y="356"/>
                    <a:pt x="1383" y="372"/>
                    <a:pt x="1366" y="350"/>
                  </a:cubicBezTo>
                  <a:cubicBezTo>
                    <a:pt x="1366" y="350"/>
                    <a:pt x="1369" y="344"/>
                    <a:pt x="1369" y="344"/>
                  </a:cubicBezTo>
                  <a:cubicBezTo>
                    <a:pt x="1366" y="344"/>
                    <a:pt x="1364" y="344"/>
                    <a:pt x="1362" y="344"/>
                  </a:cubicBezTo>
                  <a:cubicBezTo>
                    <a:pt x="1368" y="336"/>
                    <a:pt x="1379" y="340"/>
                    <a:pt x="1389" y="337"/>
                  </a:cubicBezTo>
                  <a:cubicBezTo>
                    <a:pt x="1386" y="336"/>
                    <a:pt x="1385" y="337"/>
                    <a:pt x="1383" y="335"/>
                  </a:cubicBezTo>
                  <a:cubicBezTo>
                    <a:pt x="1406" y="336"/>
                    <a:pt x="1425" y="331"/>
                    <a:pt x="1448" y="333"/>
                  </a:cubicBezTo>
                  <a:cubicBezTo>
                    <a:pt x="1466" y="335"/>
                    <a:pt x="1482" y="331"/>
                    <a:pt x="1499" y="332"/>
                  </a:cubicBezTo>
                  <a:cubicBezTo>
                    <a:pt x="1481" y="330"/>
                    <a:pt x="1457" y="318"/>
                    <a:pt x="1440" y="311"/>
                  </a:cubicBezTo>
                  <a:cubicBezTo>
                    <a:pt x="1444" y="305"/>
                    <a:pt x="1445" y="301"/>
                    <a:pt x="1452" y="299"/>
                  </a:cubicBezTo>
                  <a:cubicBezTo>
                    <a:pt x="1443" y="296"/>
                    <a:pt x="1434" y="303"/>
                    <a:pt x="1424" y="301"/>
                  </a:cubicBezTo>
                  <a:cubicBezTo>
                    <a:pt x="1425" y="303"/>
                    <a:pt x="1424" y="303"/>
                    <a:pt x="1422" y="305"/>
                  </a:cubicBezTo>
                  <a:cubicBezTo>
                    <a:pt x="1422" y="302"/>
                    <a:pt x="1417" y="304"/>
                    <a:pt x="1412" y="305"/>
                  </a:cubicBezTo>
                  <a:cubicBezTo>
                    <a:pt x="1418" y="306"/>
                    <a:pt x="1420" y="307"/>
                    <a:pt x="1425" y="310"/>
                  </a:cubicBezTo>
                  <a:cubicBezTo>
                    <a:pt x="1423" y="308"/>
                    <a:pt x="1421" y="307"/>
                    <a:pt x="1419" y="305"/>
                  </a:cubicBezTo>
                  <a:cubicBezTo>
                    <a:pt x="1424" y="309"/>
                    <a:pt x="1430" y="310"/>
                    <a:pt x="1436" y="308"/>
                  </a:cubicBezTo>
                  <a:cubicBezTo>
                    <a:pt x="1436" y="309"/>
                    <a:pt x="1434" y="310"/>
                    <a:pt x="1436" y="310"/>
                  </a:cubicBezTo>
                  <a:cubicBezTo>
                    <a:pt x="1420" y="311"/>
                    <a:pt x="1417" y="314"/>
                    <a:pt x="1405" y="310"/>
                  </a:cubicBezTo>
                  <a:cubicBezTo>
                    <a:pt x="1407" y="309"/>
                    <a:pt x="1408" y="308"/>
                    <a:pt x="1411" y="307"/>
                  </a:cubicBezTo>
                  <a:cubicBezTo>
                    <a:pt x="1411" y="307"/>
                    <a:pt x="1411" y="306"/>
                    <a:pt x="1411" y="305"/>
                  </a:cubicBezTo>
                  <a:cubicBezTo>
                    <a:pt x="1403" y="305"/>
                    <a:pt x="1399" y="305"/>
                    <a:pt x="1393" y="303"/>
                  </a:cubicBezTo>
                  <a:cubicBezTo>
                    <a:pt x="1396" y="303"/>
                    <a:pt x="1399" y="303"/>
                    <a:pt x="1402" y="302"/>
                  </a:cubicBezTo>
                  <a:cubicBezTo>
                    <a:pt x="1394" y="300"/>
                    <a:pt x="1388" y="304"/>
                    <a:pt x="1382" y="308"/>
                  </a:cubicBezTo>
                  <a:cubicBezTo>
                    <a:pt x="1380" y="312"/>
                    <a:pt x="1375" y="322"/>
                    <a:pt x="1369" y="326"/>
                  </a:cubicBezTo>
                  <a:cubicBezTo>
                    <a:pt x="1371" y="327"/>
                    <a:pt x="1372" y="328"/>
                    <a:pt x="1374" y="329"/>
                  </a:cubicBezTo>
                  <a:cubicBezTo>
                    <a:pt x="1372" y="329"/>
                    <a:pt x="1371" y="329"/>
                    <a:pt x="1371" y="330"/>
                  </a:cubicBezTo>
                  <a:cubicBezTo>
                    <a:pt x="1374" y="330"/>
                    <a:pt x="1379" y="332"/>
                    <a:pt x="1382" y="335"/>
                  </a:cubicBezTo>
                  <a:cubicBezTo>
                    <a:pt x="1375" y="334"/>
                    <a:pt x="1368" y="336"/>
                    <a:pt x="1362" y="340"/>
                  </a:cubicBezTo>
                  <a:cubicBezTo>
                    <a:pt x="1362" y="337"/>
                    <a:pt x="1363" y="338"/>
                    <a:pt x="1365" y="337"/>
                  </a:cubicBezTo>
                  <a:cubicBezTo>
                    <a:pt x="1363" y="337"/>
                    <a:pt x="1361" y="338"/>
                    <a:pt x="1359" y="336"/>
                  </a:cubicBezTo>
                  <a:cubicBezTo>
                    <a:pt x="1362" y="335"/>
                    <a:pt x="1362" y="334"/>
                    <a:pt x="1362" y="332"/>
                  </a:cubicBezTo>
                  <a:cubicBezTo>
                    <a:pt x="1361" y="338"/>
                    <a:pt x="1348" y="335"/>
                    <a:pt x="1341" y="338"/>
                  </a:cubicBezTo>
                  <a:cubicBezTo>
                    <a:pt x="1343" y="338"/>
                    <a:pt x="1344" y="339"/>
                    <a:pt x="1346" y="340"/>
                  </a:cubicBezTo>
                  <a:cubicBezTo>
                    <a:pt x="1345" y="339"/>
                    <a:pt x="1343" y="339"/>
                    <a:pt x="1341" y="339"/>
                  </a:cubicBezTo>
                  <a:cubicBezTo>
                    <a:pt x="1342" y="341"/>
                    <a:pt x="1341" y="341"/>
                    <a:pt x="1341" y="341"/>
                  </a:cubicBezTo>
                  <a:cubicBezTo>
                    <a:pt x="1338" y="340"/>
                    <a:pt x="1335" y="340"/>
                    <a:pt x="1335" y="337"/>
                  </a:cubicBezTo>
                  <a:cubicBezTo>
                    <a:pt x="1335" y="335"/>
                    <a:pt x="1332" y="341"/>
                    <a:pt x="1331" y="341"/>
                  </a:cubicBezTo>
                  <a:cubicBezTo>
                    <a:pt x="1334" y="342"/>
                    <a:pt x="1336" y="344"/>
                    <a:pt x="1337" y="346"/>
                  </a:cubicBezTo>
                  <a:cubicBezTo>
                    <a:pt x="1337" y="345"/>
                    <a:pt x="1336" y="345"/>
                    <a:pt x="1335" y="345"/>
                  </a:cubicBezTo>
                  <a:cubicBezTo>
                    <a:pt x="1336" y="346"/>
                    <a:pt x="1336" y="347"/>
                    <a:pt x="1333" y="348"/>
                  </a:cubicBezTo>
                  <a:cubicBezTo>
                    <a:pt x="1338" y="349"/>
                    <a:pt x="1343" y="350"/>
                    <a:pt x="1346" y="354"/>
                  </a:cubicBezTo>
                  <a:cubicBezTo>
                    <a:pt x="1343" y="354"/>
                    <a:pt x="1340" y="354"/>
                    <a:pt x="1337" y="354"/>
                  </a:cubicBezTo>
                  <a:cubicBezTo>
                    <a:pt x="1339" y="356"/>
                    <a:pt x="1343" y="357"/>
                    <a:pt x="1337" y="356"/>
                  </a:cubicBezTo>
                  <a:cubicBezTo>
                    <a:pt x="1338" y="358"/>
                    <a:pt x="1340" y="359"/>
                    <a:pt x="1340" y="361"/>
                  </a:cubicBezTo>
                  <a:cubicBezTo>
                    <a:pt x="1337" y="361"/>
                    <a:pt x="1336" y="357"/>
                    <a:pt x="1335" y="362"/>
                  </a:cubicBezTo>
                  <a:cubicBezTo>
                    <a:pt x="1332" y="360"/>
                    <a:pt x="1333" y="359"/>
                    <a:pt x="1330" y="360"/>
                  </a:cubicBezTo>
                  <a:cubicBezTo>
                    <a:pt x="1327" y="358"/>
                    <a:pt x="1327" y="356"/>
                    <a:pt x="1322" y="354"/>
                  </a:cubicBezTo>
                  <a:cubicBezTo>
                    <a:pt x="1326" y="352"/>
                    <a:pt x="1330" y="352"/>
                    <a:pt x="1335" y="352"/>
                  </a:cubicBezTo>
                  <a:cubicBezTo>
                    <a:pt x="1323" y="350"/>
                    <a:pt x="1301" y="344"/>
                    <a:pt x="1307" y="331"/>
                  </a:cubicBezTo>
                  <a:cubicBezTo>
                    <a:pt x="1302" y="328"/>
                    <a:pt x="1296" y="326"/>
                    <a:pt x="1289" y="325"/>
                  </a:cubicBezTo>
                  <a:cubicBezTo>
                    <a:pt x="1290" y="325"/>
                    <a:pt x="1290" y="325"/>
                    <a:pt x="1290" y="325"/>
                  </a:cubicBezTo>
                  <a:cubicBezTo>
                    <a:pt x="1288" y="324"/>
                    <a:pt x="1286" y="323"/>
                    <a:pt x="1284" y="323"/>
                  </a:cubicBezTo>
                  <a:cubicBezTo>
                    <a:pt x="1283" y="323"/>
                    <a:pt x="1282" y="323"/>
                    <a:pt x="1281" y="322"/>
                  </a:cubicBezTo>
                  <a:cubicBezTo>
                    <a:pt x="1282" y="322"/>
                    <a:pt x="1282" y="322"/>
                    <a:pt x="1283" y="322"/>
                  </a:cubicBezTo>
                  <a:cubicBezTo>
                    <a:pt x="1279" y="321"/>
                    <a:pt x="1275" y="320"/>
                    <a:pt x="1271" y="319"/>
                  </a:cubicBezTo>
                  <a:cubicBezTo>
                    <a:pt x="1269" y="316"/>
                    <a:pt x="1273" y="319"/>
                    <a:pt x="1274" y="318"/>
                  </a:cubicBezTo>
                  <a:cubicBezTo>
                    <a:pt x="1271" y="314"/>
                    <a:pt x="1267" y="313"/>
                    <a:pt x="1265" y="313"/>
                  </a:cubicBezTo>
                  <a:cubicBezTo>
                    <a:pt x="1261" y="313"/>
                    <a:pt x="1258" y="314"/>
                    <a:pt x="1258" y="310"/>
                  </a:cubicBezTo>
                  <a:cubicBezTo>
                    <a:pt x="1254" y="309"/>
                    <a:pt x="1250" y="310"/>
                    <a:pt x="1246" y="311"/>
                  </a:cubicBezTo>
                  <a:cubicBezTo>
                    <a:pt x="1248" y="320"/>
                    <a:pt x="1268" y="332"/>
                    <a:pt x="1280" y="331"/>
                  </a:cubicBezTo>
                  <a:cubicBezTo>
                    <a:pt x="1279" y="333"/>
                    <a:pt x="1278" y="330"/>
                    <a:pt x="1278" y="333"/>
                  </a:cubicBezTo>
                  <a:cubicBezTo>
                    <a:pt x="1287" y="334"/>
                    <a:pt x="1296" y="336"/>
                    <a:pt x="1298" y="342"/>
                  </a:cubicBezTo>
                  <a:cubicBezTo>
                    <a:pt x="1292" y="338"/>
                    <a:pt x="1289" y="338"/>
                    <a:pt x="1284" y="343"/>
                  </a:cubicBezTo>
                  <a:cubicBezTo>
                    <a:pt x="1292" y="348"/>
                    <a:pt x="1285" y="353"/>
                    <a:pt x="1277" y="353"/>
                  </a:cubicBezTo>
                  <a:cubicBezTo>
                    <a:pt x="1287" y="343"/>
                    <a:pt x="1270" y="337"/>
                    <a:pt x="1262" y="335"/>
                  </a:cubicBezTo>
                  <a:cubicBezTo>
                    <a:pt x="1252" y="331"/>
                    <a:pt x="1239" y="321"/>
                    <a:pt x="1230" y="318"/>
                  </a:cubicBezTo>
                  <a:cubicBezTo>
                    <a:pt x="1217" y="315"/>
                    <a:pt x="1215" y="322"/>
                    <a:pt x="1203" y="323"/>
                  </a:cubicBezTo>
                  <a:cubicBezTo>
                    <a:pt x="1197" y="324"/>
                    <a:pt x="1188" y="320"/>
                    <a:pt x="1181" y="322"/>
                  </a:cubicBezTo>
                  <a:cubicBezTo>
                    <a:pt x="1176" y="324"/>
                    <a:pt x="1175" y="331"/>
                    <a:pt x="1169" y="335"/>
                  </a:cubicBezTo>
                  <a:cubicBezTo>
                    <a:pt x="1163" y="339"/>
                    <a:pt x="1158" y="339"/>
                    <a:pt x="1151" y="344"/>
                  </a:cubicBezTo>
                  <a:cubicBezTo>
                    <a:pt x="1152" y="346"/>
                    <a:pt x="1154" y="347"/>
                    <a:pt x="1156" y="349"/>
                  </a:cubicBezTo>
                  <a:cubicBezTo>
                    <a:pt x="1144" y="358"/>
                    <a:pt x="1136" y="359"/>
                    <a:pt x="1120" y="360"/>
                  </a:cubicBezTo>
                  <a:cubicBezTo>
                    <a:pt x="1106" y="360"/>
                    <a:pt x="1096" y="356"/>
                    <a:pt x="1082" y="358"/>
                  </a:cubicBezTo>
                  <a:cubicBezTo>
                    <a:pt x="1082" y="355"/>
                    <a:pt x="1083" y="352"/>
                    <a:pt x="1084" y="350"/>
                  </a:cubicBezTo>
                  <a:cubicBezTo>
                    <a:pt x="1079" y="350"/>
                    <a:pt x="1080" y="349"/>
                    <a:pt x="1083" y="347"/>
                  </a:cubicBezTo>
                  <a:cubicBezTo>
                    <a:pt x="1081" y="347"/>
                    <a:pt x="1080" y="348"/>
                    <a:pt x="1078" y="348"/>
                  </a:cubicBezTo>
                  <a:cubicBezTo>
                    <a:pt x="1084" y="342"/>
                    <a:pt x="1086" y="335"/>
                    <a:pt x="1087" y="328"/>
                  </a:cubicBezTo>
                  <a:cubicBezTo>
                    <a:pt x="1085" y="328"/>
                    <a:pt x="1085" y="328"/>
                    <a:pt x="1085" y="328"/>
                  </a:cubicBezTo>
                  <a:cubicBezTo>
                    <a:pt x="1085" y="327"/>
                    <a:pt x="1086" y="326"/>
                    <a:pt x="1082" y="324"/>
                  </a:cubicBezTo>
                  <a:cubicBezTo>
                    <a:pt x="1085" y="323"/>
                    <a:pt x="1088" y="322"/>
                    <a:pt x="1092" y="322"/>
                  </a:cubicBezTo>
                  <a:cubicBezTo>
                    <a:pt x="1097" y="319"/>
                    <a:pt x="1116" y="322"/>
                    <a:pt x="1127" y="321"/>
                  </a:cubicBezTo>
                  <a:cubicBezTo>
                    <a:pt x="1139" y="321"/>
                    <a:pt x="1149" y="312"/>
                    <a:pt x="1151" y="313"/>
                  </a:cubicBezTo>
                  <a:cubicBezTo>
                    <a:pt x="1147" y="307"/>
                    <a:pt x="1137" y="305"/>
                    <a:pt x="1142" y="301"/>
                  </a:cubicBezTo>
                  <a:cubicBezTo>
                    <a:pt x="1136" y="299"/>
                    <a:pt x="1127" y="297"/>
                    <a:pt x="1120" y="296"/>
                  </a:cubicBezTo>
                  <a:cubicBezTo>
                    <a:pt x="1121" y="294"/>
                    <a:pt x="1121" y="294"/>
                    <a:pt x="1123" y="294"/>
                  </a:cubicBezTo>
                  <a:cubicBezTo>
                    <a:pt x="1117" y="290"/>
                    <a:pt x="1138" y="292"/>
                    <a:pt x="1144" y="292"/>
                  </a:cubicBezTo>
                  <a:cubicBezTo>
                    <a:pt x="1143" y="290"/>
                    <a:pt x="1142" y="288"/>
                    <a:pt x="1141" y="286"/>
                  </a:cubicBezTo>
                  <a:cubicBezTo>
                    <a:pt x="1147" y="288"/>
                    <a:pt x="1150" y="288"/>
                    <a:pt x="1157" y="288"/>
                  </a:cubicBezTo>
                  <a:cubicBezTo>
                    <a:pt x="1161" y="287"/>
                    <a:pt x="1172" y="275"/>
                    <a:pt x="1183" y="277"/>
                  </a:cubicBezTo>
                  <a:cubicBezTo>
                    <a:pt x="1177" y="275"/>
                    <a:pt x="1179" y="275"/>
                    <a:pt x="1184" y="276"/>
                  </a:cubicBezTo>
                  <a:cubicBezTo>
                    <a:pt x="1181" y="275"/>
                    <a:pt x="1183" y="275"/>
                    <a:pt x="1185" y="275"/>
                  </a:cubicBezTo>
                  <a:cubicBezTo>
                    <a:pt x="1178" y="267"/>
                    <a:pt x="1197" y="264"/>
                    <a:pt x="1206" y="266"/>
                  </a:cubicBezTo>
                  <a:cubicBezTo>
                    <a:pt x="1206" y="265"/>
                    <a:pt x="1204" y="265"/>
                    <a:pt x="1204" y="264"/>
                  </a:cubicBezTo>
                  <a:cubicBezTo>
                    <a:pt x="1206" y="264"/>
                    <a:pt x="1211" y="263"/>
                    <a:pt x="1212" y="263"/>
                  </a:cubicBezTo>
                  <a:cubicBezTo>
                    <a:pt x="1215" y="264"/>
                    <a:pt x="1213" y="264"/>
                    <a:pt x="1215" y="266"/>
                  </a:cubicBezTo>
                  <a:cubicBezTo>
                    <a:pt x="1215" y="263"/>
                    <a:pt x="1217" y="262"/>
                    <a:pt x="1219" y="262"/>
                  </a:cubicBezTo>
                  <a:cubicBezTo>
                    <a:pt x="1216" y="261"/>
                    <a:pt x="1215" y="259"/>
                    <a:pt x="1218" y="258"/>
                  </a:cubicBezTo>
                  <a:cubicBezTo>
                    <a:pt x="1214" y="255"/>
                    <a:pt x="1214" y="254"/>
                    <a:pt x="1210" y="252"/>
                  </a:cubicBezTo>
                  <a:cubicBezTo>
                    <a:pt x="1211" y="251"/>
                    <a:pt x="1212" y="250"/>
                    <a:pt x="1213" y="250"/>
                  </a:cubicBezTo>
                  <a:cubicBezTo>
                    <a:pt x="1211" y="248"/>
                    <a:pt x="1211" y="247"/>
                    <a:pt x="1211" y="246"/>
                  </a:cubicBezTo>
                  <a:cubicBezTo>
                    <a:pt x="1213" y="246"/>
                    <a:pt x="1214" y="245"/>
                    <a:pt x="1215" y="245"/>
                  </a:cubicBezTo>
                  <a:cubicBezTo>
                    <a:pt x="1214" y="245"/>
                    <a:pt x="1212" y="244"/>
                    <a:pt x="1212" y="244"/>
                  </a:cubicBezTo>
                  <a:cubicBezTo>
                    <a:pt x="1217" y="242"/>
                    <a:pt x="1222" y="240"/>
                    <a:pt x="1228" y="238"/>
                  </a:cubicBezTo>
                  <a:cubicBezTo>
                    <a:pt x="1225" y="242"/>
                    <a:pt x="1219" y="244"/>
                    <a:pt x="1215" y="245"/>
                  </a:cubicBezTo>
                  <a:cubicBezTo>
                    <a:pt x="1217" y="245"/>
                    <a:pt x="1218" y="245"/>
                    <a:pt x="1220" y="246"/>
                  </a:cubicBezTo>
                  <a:cubicBezTo>
                    <a:pt x="1221" y="242"/>
                    <a:pt x="1226" y="244"/>
                    <a:pt x="1231" y="247"/>
                  </a:cubicBezTo>
                  <a:cubicBezTo>
                    <a:pt x="1225" y="248"/>
                    <a:pt x="1216" y="252"/>
                    <a:pt x="1225" y="256"/>
                  </a:cubicBezTo>
                  <a:cubicBezTo>
                    <a:pt x="1225" y="257"/>
                    <a:pt x="1226" y="260"/>
                    <a:pt x="1232" y="258"/>
                  </a:cubicBezTo>
                  <a:cubicBezTo>
                    <a:pt x="1234" y="262"/>
                    <a:pt x="1230" y="258"/>
                    <a:pt x="1229" y="261"/>
                  </a:cubicBezTo>
                  <a:cubicBezTo>
                    <a:pt x="1234" y="261"/>
                    <a:pt x="1238" y="261"/>
                    <a:pt x="1242" y="259"/>
                  </a:cubicBezTo>
                  <a:cubicBezTo>
                    <a:pt x="1259" y="263"/>
                    <a:pt x="1271" y="252"/>
                    <a:pt x="1289" y="256"/>
                  </a:cubicBezTo>
                  <a:cubicBezTo>
                    <a:pt x="1288" y="257"/>
                    <a:pt x="1285" y="254"/>
                    <a:pt x="1287" y="257"/>
                  </a:cubicBezTo>
                  <a:cubicBezTo>
                    <a:pt x="1290" y="258"/>
                    <a:pt x="1292" y="257"/>
                    <a:pt x="1295" y="256"/>
                  </a:cubicBezTo>
                  <a:cubicBezTo>
                    <a:pt x="1294" y="257"/>
                    <a:pt x="1293" y="258"/>
                    <a:pt x="1292" y="258"/>
                  </a:cubicBezTo>
                  <a:cubicBezTo>
                    <a:pt x="1300" y="257"/>
                    <a:pt x="1309" y="257"/>
                    <a:pt x="1317" y="256"/>
                  </a:cubicBezTo>
                  <a:cubicBezTo>
                    <a:pt x="1316" y="255"/>
                    <a:pt x="1317" y="255"/>
                    <a:pt x="1318" y="254"/>
                  </a:cubicBezTo>
                  <a:cubicBezTo>
                    <a:pt x="1310" y="253"/>
                    <a:pt x="1298" y="250"/>
                    <a:pt x="1305" y="242"/>
                  </a:cubicBezTo>
                  <a:cubicBezTo>
                    <a:pt x="1312" y="233"/>
                    <a:pt x="1326" y="249"/>
                    <a:pt x="1324" y="233"/>
                  </a:cubicBezTo>
                  <a:cubicBezTo>
                    <a:pt x="1321" y="233"/>
                    <a:pt x="1319" y="231"/>
                    <a:pt x="1319" y="230"/>
                  </a:cubicBezTo>
                  <a:cubicBezTo>
                    <a:pt x="1318" y="230"/>
                    <a:pt x="1317" y="230"/>
                    <a:pt x="1316" y="230"/>
                  </a:cubicBezTo>
                  <a:cubicBezTo>
                    <a:pt x="1319" y="225"/>
                    <a:pt x="1323" y="225"/>
                    <a:pt x="1330" y="225"/>
                  </a:cubicBezTo>
                  <a:cubicBezTo>
                    <a:pt x="1329" y="224"/>
                    <a:pt x="1329" y="224"/>
                    <a:pt x="1329" y="224"/>
                  </a:cubicBezTo>
                  <a:cubicBezTo>
                    <a:pt x="1330" y="225"/>
                    <a:pt x="1338" y="226"/>
                    <a:pt x="1340" y="225"/>
                  </a:cubicBezTo>
                  <a:cubicBezTo>
                    <a:pt x="1348" y="224"/>
                    <a:pt x="1346" y="218"/>
                    <a:pt x="1347" y="217"/>
                  </a:cubicBezTo>
                  <a:cubicBezTo>
                    <a:pt x="1350" y="214"/>
                    <a:pt x="1350" y="214"/>
                    <a:pt x="1350" y="214"/>
                  </a:cubicBezTo>
                  <a:cubicBezTo>
                    <a:pt x="1341" y="223"/>
                    <a:pt x="1326" y="218"/>
                    <a:pt x="1312" y="223"/>
                  </a:cubicBezTo>
                  <a:cubicBezTo>
                    <a:pt x="1312" y="221"/>
                    <a:pt x="1311" y="221"/>
                    <a:pt x="1311" y="219"/>
                  </a:cubicBezTo>
                  <a:cubicBezTo>
                    <a:pt x="1294" y="222"/>
                    <a:pt x="1289" y="199"/>
                    <a:pt x="1305" y="197"/>
                  </a:cubicBezTo>
                  <a:cubicBezTo>
                    <a:pt x="1306" y="194"/>
                    <a:pt x="1316" y="188"/>
                    <a:pt x="1317" y="188"/>
                  </a:cubicBezTo>
                  <a:cubicBezTo>
                    <a:pt x="1318" y="187"/>
                    <a:pt x="1318" y="187"/>
                    <a:pt x="1319" y="188"/>
                  </a:cubicBezTo>
                  <a:cubicBezTo>
                    <a:pt x="1318" y="186"/>
                    <a:pt x="1315" y="186"/>
                    <a:pt x="1317" y="184"/>
                  </a:cubicBezTo>
                  <a:cubicBezTo>
                    <a:pt x="1308" y="182"/>
                    <a:pt x="1300" y="182"/>
                    <a:pt x="1293" y="183"/>
                  </a:cubicBezTo>
                  <a:cubicBezTo>
                    <a:pt x="1296" y="185"/>
                    <a:pt x="1294" y="185"/>
                    <a:pt x="1292" y="185"/>
                  </a:cubicBezTo>
                  <a:cubicBezTo>
                    <a:pt x="1292" y="186"/>
                    <a:pt x="1292" y="187"/>
                    <a:pt x="1290" y="190"/>
                  </a:cubicBezTo>
                  <a:cubicBezTo>
                    <a:pt x="1294" y="191"/>
                    <a:pt x="1292" y="190"/>
                    <a:pt x="1294" y="192"/>
                  </a:cubicBezTo>
                  <a:cubicBezTo>
                    <a:pt x="1286" y="200"/>
                    <a:pt x="1277" y="202"/>
                    <a:pt x="1268" y="206"/>
                  </a:cubicBezTo>
                  <a:cubicBezTo>
                    <a:pt x="1272" y="217"/>
                    <a:pt x="1269" y="217"/>
                    <a:pt x="1283" y="223"/>
                  </a:cubicBezTo>
                  <a:cubicBezTo>
                    <a:pt x="1276" y="226"/>
                    <a:pt x="1272" y="226"/>
                    <a:pt x="1264" y="226"/>
                  </a:cubicBezTo>
                  <a:cubicBezTo>
                    <a:pt x="1269" y="226"/>
                    <a:pt x="1275" y="228"/>
                    <a:pt x="1280" y="229"/>
                  </a:cubicBezTo>
                  <a:cubicBezTo>
                    <a:pt x="1274" y="230"/>
                    <a:pt x="1274" y="231"/>
                    <a:pt x="1268" y="232"/>
                  </a:cubicBezTo>
                  <a:cubicBezTo>
                    <a:pt x="1269" y="232"/>
                    <a:pt x="1270" y="233"/>
                    <a:pt x="1271" y="233"/>
                  </a:cubicBezTo>
                  <a:cubicBezTo>
                    <a:pt x="1268" y="233"/>
                    <a:pt x="1268" y="233"/>
                    <a:pt x="1268" y="233"/>
                  </a:cubicBezTo>
                  <a:cubicBezTo>
                    <a:pt x="1271" y="234"/>
                    <a:pt x="1271" y="235"/>
                    <a:pt x="1272" y="236"/>
                  </a:cubicBezTo>
                  <a:cubicBezTo>
                    <a:pt x="1271" y="237"/>
                    <a:pt x="1269" y="236"/>
                    <a:pt x="1268" y="236"/>
                  </a:cubicBezTo>
                  <a:cubicBezTo>
                    <a:pt x="1276" y="245"/>
                    <a:pt x="1249" y="257"/>
                    <a:pt x="1242" y="248"/>
                  </a:cubicBezTo>
                  <a:cubicBezTo>
                    <a:pt x="1243" y="246"/>
                    <a:pt x="1244" y="247"/>
                    <a:pt x="1245" y="246"/>
                  </a:cubicBezTo>
                  <a:cubicBezTo>
                    <a:pt x="1239" y="244"/>
                    <a:pt x="1234" y="240"/>
                    <a:pt x="1236" y="235"/>
                  </a:cubicBezTo>
                  <a:cubicBezTo>
                    <a:pt x="1235" y="234"/>
                    <a:pt x="1235" y="234"/>
                    <a:pt x="1235" y="233"/>
                  </a:cubicBezTo>
                  <a:cubicBezTo>
                    <a:pt x="1235" y="233"/>
                    <a:pt x="1233" y="235"/>
                    <a:pt x="1233" y="235"/>
                  </a:cubicBezTo>
                  <a:cubicBezTo>
                    <a:pt x="1232" y="232"/>
                    <a:pt x="1233" y="230"/>
                    <a:pt x="1233" y="229"/>
                  </a:cubicBezTo>
                  <a:cubicBezTo>
                    <a:pt x="1229" y="226"/>
                    <a:pt x="1229" y="227"/>
                    <a:pt x="1227" y="224"/>
                  </a:cubicBezTo>
                  <a:cubicBezTo>
                    <a:pt x="1227" y="225"/>
                    <a:pt x="1226" y="225"/>
                    <a:pt x="1224" y="226"/>
                  </a:cubicBezTo>
                  <a:cubicBezTo>
                    <a:pt x="1225" y="230"/>
                    <a:pt x="1224" y="228"/>
                    <a:pt x="1223" y="230"/>
                  </a:cubicBezTo>
                  <a:cubicBezTo>
                    <a:pt x="1222" y="229"/>
                    <a:pt x="1219" y="228"/>
                    <a:pt x="1217" y="227"/>
                  </a:cubicBezTo>
                  <a:cubicBezTo>
                    <a:pt x="1218" y="228"/>
                    <a:pt x="1219" y="229"/>
                    <a:pt x="1220" y="230"/>
                  </a:cubicBezTo>
                  <a:cubicBezTo>
                    <a:pt x="1217" y="232"/>
                    <a:pt x="1215" y="231"/>
                    <a:pt x="1213" y="233"/>
                  </a:cubicBezTo>
                  <a:cubicBezTo>
                    <a:pt x="1207" y="239"/>
                    <a:pt x="1199" y="236"/>
                    <a:pt x="1190" y="231"/>
                  </a:cubicBezTo>
                  <a:cubicBezTo>
                    <a:pt x="1191" y="231"/>
                    <a:pt x="1191" y="231"/>
                    <a:pt x="1191" y="230"/>
                  </a:cubicBezTo>
                  <a:cubicBezTo>
                    <a:pt x="1193" y="230"/>
                    <a:pt x="1195" y="231"/>
                    <a:pt x="1197" y="231"/>
                  </a:cubicBezTo>
                  <a:cubicBezTo>
                    <a:pt x="1197" y="230"/>
                    <a:pt x="1200" y="229"/>
                    <a:pt x="1195" y="230"/>
                  </a:cubicBezTo>
                  <a:cubicBezTo>
                    <a:pt x="1194" y="229"/>
                    <a:pt x="1196" y="228"/>
                    <a:pt x="1196" y="227"/>
                  </a:cubicBezTo>
                  <a:cubicBezTo>
                    <a:pt x="1192" y="227"/>
                    <a:pt x="1193" y="227"/>
                    <a:pt x="1189" y="226"/>
                  </a:cubicBezTo>
                  <a:cubicBezTo>
                    <a:pt x="1192" y="226"/>
                    <a:pt x="1193" y="225"/>
                    <a:pt x="1197" y="224"/>
                  </a:cubicBezTo>
                  <a:cubicBezTo>
                    <a:pt x="1196" y="224"/>
                    <a:pt x="1194" y="224"/>
                    <a:pt x="1194" y="224"/>
                  </a:cubicBezTo>
                  <a:cubicBezTo>
                    <a:pt x="1195" y="223"/>
                    <a:pt x="1196" y="223"/>
                    <a:pt x="1194" y="222"/>
                  </a:cubicBezTo>
                  <a:cubicBezTo>
                    <a:pt x="1195" y="222"/>
                    <a:pt x="1195" y="221"/>
                    <a:pt x="1196" y="221"/>
                  </a:cubicBezTo>
                  <a:cubicBezTo>
                    <a:pt x="1194" y="222"/>
                    <a:pt x="1192" y="222"/>
                    <a:pt x="1191" y="221"/>
                  </a:cubicBezTo>
                  <a:cubicBezTo>
                    <a:pt x="1191" y="221"/>
                    <a:pt x="1195" y="218"/>
                    <a:pt x="1188" y="219"/>
                  </a:cubicBezTo>
                  <a:cubicBezTo>
                    <a:pt x="1189" y="218"/>
                    <a:pt x="1189" y="219"/>
                    <a:pt x="1191" y="217"/>
                  </a:cubicBezTo>
                  <a:cubicBezTo>
                    <a:pt x="1188" y="217"/>
                    <a:pt x="1188" y="219"/>
                    <a:pt x="1187" y="216"/>
                  </a:cubicBezTo>
                  <a:cubicBezTo>
                    <a:pt x="1192" y="216"/>
                    <a:pt x="1199" y="217"/>
                    <a:pt x="1199" y="217"/>
                  </a:cubicBezTo>
                  <a:cubicBezTo>
                    <a:pt x="1203" y="217"/>
                    <a:pt x="1204" y="215"/>
                    <a:pt x="1204" y="214"/>
                  </a:cubicBezTo>
                  <a:cubicBezTo>
                    <a:pt x="1204" y="215"/>
                    <a:pt x="1203" y="215"/>
                    <a:pt x="1201" y="215"/>
                  </a:cubicBezTo>
                  <a:cubicBezTo>
                    <a:pt x="1200" y="215"/>
                    <a:pt x="1189" y="214"/>
                    <a:pt x="1189" y="214"/>
                  </a:cubicBezTo>
                  <a:cubicBezTo>
                    <a:pt x="1189" y="214"/>
                    <a:pt x="1188" y="214"/>
                    <a:pt x="1187" y="214"/>
                  </a:cubicBezTo>
                  <a:cubicBezTo>
                    <a:pt x="1189" y="214"/>
                    <a:pt x="1191" y="213"/>
                    <a:pt x="1192" y="213"/>
                  </a:cubicBezTo>
                  <a:cubicBezTo>
                    <a:pt x="1191" y="213"/>
                    <a:pt x="1190" y="213"/>
                    <a:pt x="1188" y="213"/>
                  </a:cubicBezTo>
                  <a:cubicBezTo>
                    <a:pt x="1187" y="211"/>
                    <a:pt x="1191" y="211"/>
                    <a:pt x="1197" y="211"/>
                  </a:cubicBezTo>
                  <a:cubicBezTo>
                    <a:pt x="1193" y="211"/>
                    <a:pt x="1190" y="211"/>
                    <a:pt x="1187" y="209"/>
                  </a:cubicBezTo>
                  <a:cubicBezTo>
                    <a:pt x="1191" y="210"/>
                    <a:pt x="1190" y="209"/>
                    <a:pt x="1195" y="209"/>
                  </a:cubicBezTo>
                  <a:cubicBezTo>
                    <a:pt x="1195" y="209"/>
                    <a:pt x="1197" y="207"/>
                    <a:pt x="1201" y="209"/>
                  </a:cubicBezTo>
                  <a:cubicBezTo>
                    <a:pt x="1200" y="208"/>
                    <a:pt x="1200" y="208"/>
                    <a:pt x="1201" y="207"/>
                  </a:cubicBezTo>
                  <a:cubicBezTo>
                    <a:pt x="1199" y="207"/>
                    <a:pt x="1196" y="206"/>
                    <a:pt x="1194" y="206"/>
                  </a:cubicBezTo>
                  <a:cubicBezTo>
                    <a:pt x="1199" y="206"/>
                    <a:pt x="1202" y="205"/>
                    <a:pt x="1206" y="205"/>
                  </a:cubicBezTo>
                  <a:cubicBezTo>
                    <a:pt x="1202" y="204"/>
                    <a:pt x="1205" y="206"/>
                    <a:pt x="1200" y="204"/>
                  </a:cubicBezTo>
                  <a:cubicBezTo>
                    <a:pt x="1201" y="204"/>
                    <a:pt x="1201" y="204"/>
                    <a:pt x="1200" y="203"/>
                  </a:cubicBezTo>
                  <a:cubicBezTo>
                    <a:pt x="1204" y="204"/>
                    <a:pt x="1207" y="204"/>
                    <a:pt x="1211" y="205"/>
                  </a:cubicBezTo>
                  <a:cubicBezTo>
                    <a:pt x="1209" y="204"/>
                    <a:pt x="1208" y="205"/>
                    <a:pt x="1207" y="203"/>
                  </a:cubicBezTo>
                  <a:cubicBezTo>
                    <a:pt x="1208" y="203"/>
                    <a:pt x="1210" y="204"/>
                    <a:pt x="1211" y="204"/>
                  </a:cubicBezTo>
                  <a:cubicBezTo>
                    <a:pt x="1211" y="204"/>
                    <a:pt x="1211" y="204"/>
                    <a:pt x="1212" y="203"/>
                  </a:cubicBezTo>
                  <a:cubicBezTo>
                    <a:pt x="1210" y="203"/>
                    <a:pt x="1209" y="203"/>
                    <a:pt x="1208" y="203"/>
                  </a:cubicBezTo>
                  <a:cubicBezTo>
                    <a:pt x="1211" y="202"/>
                    <a:pt x="1212" y="203"/>
                    <a:pt x="1210" y="202"/>
                  </a:cubicBezTo>
                  <a:cubicBezTo>
                    <a:pt x="1212" y="201"/>
                    <a:pt x="1214" y="201"/>
                    <a:pt x="1216" y="200"/>
                  </a:cubicBezTo>
                  <a:cubicBezTo>
                    <a:pt x="1217" y="199"/>
                    <a:pt x="1217" y="200"/>
                    <a:pt x="1218" y="202"/>
                  </a:cubicBezTo>
                  <a:cubicBezTo>
                    <a:pt x="1224" y="201"/>
                    <a:pt x="1226" y="200"/>
                    <a:pt x="1229" y="198"/>
                  </a:cubicBezTo>
                  <a:cubicBezTo>
                    <a:pt x="1224" y="197"/>
                    <a:pt x="1229" y="197"/>
                    <a:pt x="1229" y="196"/>
                  </a:cubicBezTo>
                  <a:cubicBezTo>
                    <a:pt x="1227" y="196"/>
                    <a:pt x="1226" y="196"/>
                    <a:pt x="1224" y="198"/>
                  </a:cubicBezTo>
                  <a:cubicBezTo>
                    <a:pt x="1226" y="197"/>
                    <a:pt x="1222" y="200"/>
                    <a:pt x="1219" y="199"/>
                  </a:cubicBezTo>
                  <a:cubicBezTo>
                    <a:pt x="1219" y="198"/>
                    <a:pt x="1220" y="198"/>
                    <a:pt x="1220" y="198"/>
                  </a:cubicBezTo>
                  <a:cubicBezTo>
                    <a:pt x="1220" y="198"/>
                    <a:pt x="1218" y="198"/>
                    <a:pt x="1217" y="198"/>
                  </a:cubicBezTo>
                  <a:cubicBezTo>
                    <a:pt x="1222" y="193"/>
                    <a:pt x="1224" y="193"/>
                    <a:pt x="1229" y="192"/>
                  </a:cubicBezTo>
                  <a:cubicBezTo>
                    <a:pt x="1228" y="191"/>
                    <a:pt x="1229" y="190"/>
                    <a:pt x="1230" y="190"/>
                  </a:cubicBezTo>
                  <a:cubicBezTo>
                    <a:pt x="1232" y="189"/>
                    <a:pt x="1235" y="188"/>
                    <a:pt x="1237" y="187"/>
                  </a:cubicBezTo>
                  <a:cubicBezTo>
                    <a:pt x="1236" y="187"/>
                    <a:pt x="1235" y="187"/>
                    <a:pt x="1234" y="187"/>
                  </a:cubicBezTo>
                  <a:cubicBezTo>
                    <a:pt x="1234" y="187"/>
                    <a:pt x="1234" y="186"/>
                    <a:pt x="1234" y="186"/>
                  </a:cubicBezTo>
                  <a:cubicBezTo>
                    <a:pt x="1234" y="185"/>
                    <a:pt x="1235" y="185"/>
                    <a:pt x="1236" y="186"/>
                  </a:cubicBezTo>
                  <a:cubicBezTo>
                    <a:pt x="1235" y="184"/>
                    <a:pt x="1235" y="184"/>
                    <a:pt x="1238" y="182"/>
                  </a:cubicBezTo>
                  <a:cubicBezTo>
                    <a:pt x="1238" y="182"/>
                    <a:pt x="1236" y="181"/>
                    <a:pt x="1235" y="181"/>
                  </a:cubicBezTo>
                  <a:cubicBezTo>
                    <a:pt x="1238" y="181"/>
                    <a:pt x="1240" y="180"/>
                    <a:pt x="1242" y="180"/>
                  </a:cubicBezTo>
                  <a:cubicBezTo>
                    <a:pt x="1239" y="180"/>
                    <a:pt x="1235" y="179"/>
                    <a:pt x="1240" y="178"/>
                  </a:cubicBezTo>
                  <a:cubicBezTo>
                    <a:pt x="1238" y="177"/>
                    <a:pt x="1240" y="176"/>
                    <a:pt x="1240" y="176"/>
                  </a:cubicBezTo>
                  <a:cubicBezTo>
                    <a:pt x="1241" y="175"/>
                    <a:pt x="1242" y="176"/>
                    <a:pt x="1240" y="175"/>
                  </a:cubicBezTo>
                  <a:cubicBezTo>
                    <a:pt x="1244" y="174"/>
                    <a:pt x="1246" y="174"/>
                    <a:pt x="1251" y="174"/>
                  </a:cubicBezTo>
                  <a:cubicBezTo>
                    <a:pt x="1249" y="173"/>
                    <a:pt x="1242" y="169"/>
                    <a:pt x="1248" y="171"/>
                  </a:cubicBezTo>
                  <a:cubicBezTo>
                    <a:pt x="1248" y="171"/>
                    <a:pt x="1249" y="170"/>
                    <a:pt x="1251" y="171"/>
                  </a:cubicBezTo>
                  <a:cubicBezTo>
                    <a:pt x="1251" y="170"/>
                    <a:pt x="1251" y="170"/>
                    <a:pt x="1251" y="170"/>
                  </a:cubicBezTo>
                  <a:cubicBezTo>
                    <a:pt x="1251" y="170"/>
                    <a:pt x="1251" y="169"/>
                    <a:pt x="1251" y="169"/>
                  </a:cubicBezTo>
                  <a:cubicBezTo>
                    <a:pt x="1249" y="168"/>
                    <a:pt x="1249" y="169"/>
                    <a:pt x="1247" y="169"/>
                  </a:cubicBezTo>
                  <a:cubicBezTo>
                    <a:pt x="1248" y="168"/>
                    <a:pt x="1249" y="167"/>
                    <a:pt x="1253" y="167"/>
                  </a:cubicBezTo>
                  <a:cubicBezTo>
                    <a:pt x="1251" y="167"/>
                    <a:pt x="1250" y="166"/>
                    <a:pt x="1249" y="166"/>
                  </a:cubicBezTo>
                  <a:cubicBezTo>
                    <a:pt x="1253" y="167"/>
                    <a:pt x="1254" y="165"/>
                    <a:pt x="1254" y="165"/>
                  </a:cubicBezTo>
                  <a:cubicBezTo>
                    <a:pt x="1255" y="165"/>
                    <a:pt x="1257" y="165"/>
                    <a:pt x="1256" y="164"/>
                  </a:cubicBezTo>
                  <a:cubicBezTo>
                    <a:pt x="1258" y="164"/>
                    <a:pt x="1259" y="164"/>
                    <a:pt x="1261" y="165"/>
                  </a:cubicBezTo>
                  <a:cubicBezTo>
                    <a:pt x="1260" y="165"/>
                    <a:pt x="1262" y="163"/>
                    <a:pt x="1262" y="163"/>
                  </a:cubicBezTo>
                  <a:cubicBezTo>
                    <a:pt x="1260" y="163"/>
                    <a:pt x="1257" y="164"/>
                    <a:pt x="1254" y="163"/>
                  </a:cubicBezTo>
                  <a:cubicBezTo>
                    <a:pt x="1257" y="162"/>
                    <a:pt x="1261" y="160"/>
                    <a:pt x="1261" y="160"/>
                  </a:cubicBezTo>
                  <a:cubicBezTo>
                    <a:pt x="1261" y="160"/>
                    <a:pt x="1262" y="160"/>
                    <a:pt x="1263" y="160"/>
                  </a:cubicBezTo>
                  <a:cubicBezTo>
                    <a:pt x="1262" y="159"/>
                    <a:pt x="1262" y="159"/>
                    <a:pt x="1261" y="159"/>
                  </a:cubicBezTo>
                  <a:cubicBezTo>
                    <a:pt x="1263" y="157"/>
                    <a:pt x="1265" y="156"/>
                    <a:pt x="1268" y="158"/>
                  </a:cubicBezTo>
                  <a:cubicBezTo>
                    <a:pt x="1267" y="157"/>
                    <a:pt x="1267" y="157"/>
                    <a:pt x="1268" y="157"/>
                  </a:cubicBezTo>
                  <a:cubicBezTo>
                    <a:pt x="1266" y="157"/>
                    <a:pt x="1265" y="156"/>
                    <a:pt x="1268" y="155"/>
                  </a:cubicBezTo>
                  <a:cubicBezTo>
                    <a:pt x="1269" y="155"/>
                    <a:pt x="1273" y="157"/>
                    <a:pt x="1273" y="157"/>
                  </a:cubicBezTo>
                  <a:cubicBezTo>
                    <a:pt x="1272" y="156"/>
                    <a:pt x="1269" y="156"/>
                    <a:pt x="1270" y="155"/>
                  </a:cubicBezTo>
                  <a:cubicBezTo>
                    <a:pt x="1270" y="154"/>
                    <a:pt x="1271" y="153"/>
                    <a:pt x="1272" y="153"/>
                  </a:cubicBezTo>
                  <a:cubicBezTo>
                    <a:pt x="1274" y="154"/>
                    <a:pt x="1273" y="156"/>
                    <a:pt x="1273" y="156"/>
                  </a:cubicBezTo>
                  <a:cubicBezTo>
                    <a:pt x="1275" y="155"/>
                    <a:pt x="1274" y="153"/>
                    <a:pt x="1277" y="152"/>
                  </a:cubicBezTo>
                  <a:cubicBezTo>
                    <a:pt x="1277" y="156"/>
                    <a:pt x="1276" y="154"/>
                    <a:pt x="1276" y="157"/>
                  </a:cubicBezTo>
                  <a:cubicBezTo>
                    <a:pt x="1277" y="155"/>
                    <a:pt x="1279" y="155"/>
                    <a:pt x="1281" y="155"/>
                  </a:cubicBezTo>
                  <a:cubicBezTo>
                    <a:pt x="1281" y="155"/>
                    <a:pt x="1278" y="154"/>
                    <a:pt x="1278" y="153"/>
                  </a:cubicBezTo>
                  <a:cubicBezTo>
                    <a:pt x="1282" y="153"/>
                    <a:pt x="1282" y="151"/>
                    <a:pt x="1287" y="154"/>
                  </a:cubicBezTo>
                  <a:cubicBezTo>
                    <a:pt x="1287" y="153"/>
                    <a:pt x="1285" y="151"/>
                    <a:pt x="1286" y="151"/>
                  </a:cubicBezTo>
                  <a:cubicBezTo>
                    <a:pt x="1285" y="150"/>
                    <a:pt x="1283" y="150"/>
                    <a:pt x="1281" y="149"/>
                  </a:cubicBezTo>
                  <a:cubicBezTo>
                    <a:pt x="1287" y="149"/>
                    <a:pt x="1291" y="149"/>
                    <a:pt x="1295" y="151"/>
                  </a:cubicBezTo>
                  <a:cubicBezTo>
                    <a:pt x="1292" y="150"/>
                    <a:pt x="1295" y="149"/>
                    <a:pt x="1295" y="148"/>
                  </a:cubicBezTo>
                  <a:cubicBezTo>
                    <a:pt x="1296" y="148"/>
                    <a:pt x="1299" y="146"/>
                    <a:pt x="1301" y="146"/>
                  </a:cubicBezTo>
                  <a:cubicBezTo>
                    <a:pt x="1301" y="145"/>
                    <a:pt x="1298" y="145"/>
                    <a:pt x="1298" y="144"/>
                  </a:cubicBezTo>
                  <a:cubicBezTo>
                    <a:pt x="1302" y="143"/>
                    <a:pt x="1304" y="143"/>
                    <a:pt x="1308" y="144"/>
                  </a:cubicBezTo>
                  <a:cubicBezTo>
                    <a:pt x="1306" y="147"/>
                    <a:pt x="1305" y="147"/>
                    <a:pt x="1304" y="149"/>
                  </a:cubicBezTo>
                  <a:cubicBezTo>
                    <a:pt x="1304" y="149"/>
                    <a:pt x="1305" y="150"/>
                    <a:pt x="1304" y="150"/>
                  </a:cubicBezTo>
                  <a:cubicBezTo>
                    <a:pt x="1307" y="148"/>
                    <a:pt x="1310" y="146"/>
                    <a:pt x="1312" y="143"/>
                  </a:cubicBezTo>
                  <a:cubicBezTo>
                    <a:pt x="1313" y="145"/>
                    <a:pt x="1312" y="146"/>
                    <a:pt x="1312" y="148"/>
                  </a:cubicBezTo>
                  <a:cubicBezTo>
                    <a:pt x="1315" y="145"/>
                    <a:pt x="1315" y="146"/>
                    <a:pt x="1317" y="144"/>
                  </a:cubicBezTo>
                  <a:cubicBezTo>
                    <a:pt x="1317" y="143"/>
                    <a:pt x="1315" y="143"/>
                    <a:pt x="1315" y="143"/>
                  </a:cubicBezTo>
                  <a:cubicBezTo>
                    <a:pt x="1319" y="142"/>
                    <a:pt x="1319" y="141"/>
                    <a:pt x="1324" y="143"/>
                  </a:cubicBezTo>
                  <a:cubicBezTo>
                    <a:pt x="1323" y="143"/>
                    <a:pt x="1321" y="143"/>
                    <a:pt x="1320" y="144"/>
                  </a:cubicBezTo>
                  <a:cubicBezTo>
                    <a:pt x="1322" y="144"/>
                    <a:pt x="1321" y="144"/>
                    <a:pt x="1320" y="145"/>
                  </a:cubicBezTo>
                  <a:cubicBezTo>
                    <a:pt x="1321" y="146"/>
                    <a:pt x="1322" y="145"/>
                    <a:pt x="1323" y="145"/>
                  </a:cubicBezTo>
                  <a:cubicBezTo>
                    <a:pt x="1324" y="146"/>
                    <a:pt x="1321" y="145"/>
                    <a:pt x="1320" y="147"/>
                  </a:cubicBezTo>
                  <a:cubicBezTo>
                    <a:pt x="1327" y="144"/>
                    <a:pt x="1331" y="143"/>
                    <a:pt x="1334" y="146"/>
                  </a:cubicBezTo>
                  <a:cubicBezTo>
                    <a:pt x="1337" y="146"/>
                    <a:pt x="1340" y="146"/>
                    <a:pt x="1343" y="147"/>
                  </a:cubicBezTo>
                  <a:cubicBezTo>
                    <a:pt x="1337" y="148"/>
                    <a:pt x="1334" y="150"/>
                    <a:pt x="1327" y="149"/>
                  </a:cubicBezTo>
                  <a:cubicBezTo>
                    <a:pt x="1334" y="152"/>
                    <a:pt x="1337" y="152"/>
                    <a:pt x="1342" y="153"/>
                  </a:cubicBezTo>
                  <a:cubicBezTo>
                    <a:pt x="1339" y="153"/>
                    <a:pt x="1338" y="153"/>
                    <a:pt x="1335" y="155"/>
                  </a:cubicBezTo>
                  <a:cubicBezTo>
                    <a:pt x="1350" y="156"/>
                    <a:pt x="1396" y="151"/>
                    <a:pt x="1407" y="166"/>
                  </a:cubicBezTo>
                  <a:cubicBezTo>
                    <a:pt x="1421" y="186"/>
                    <a:pt x="1371" y="174"/>
                    <a:pt x="1362" y="172"/>
                  </a:cubicBezTo>
                  <a:cubicBezTo>
                    <a:pt x="1369" y="175"/>
                    <a:pt x="1378" y="187"/>
                    <a:pt x="1383" y="188"/>
                  </a:cubicBezTo>
                  <a:cubicBezTo>
                    <a:pt x="1386" y="189"/>
                    <a:pt x="1408" y="190"/>
                    <a:pt x="1411" y="188"/>
                  </a:cubicBezTo>
                  <a:cubicBezTo>
                    <a:pt x="1416" y="186"/>
                    <a:pt x="1415" y="167"/>
                    <a:pt x="1436" y="175"/>
                  </a:cubicBezTo>
                  <a:cubicBezTo>
                    <a:pt x="1433" y="168"/>
                    <a:pt x="1430" y="160"/>
                    <a:pt x="1422" y="157"/>
                  </a:cubicBezTo>
                  <a:cubicBezTo>
                    <a:pt x="1430" y="156"/>
                    <a:pt x="1439" y="157"/>
                    <a:pt x="1445" y="162"/>
                  </a:cubicBezTo>
                  <a:cubicBezTo>
                    <a:pt x="1434" y="174"/>
                    <a:pt x="1470" y="158"/>
                    <a:pt x="1484" y="153"/>
                  </a:cubicBezTo>
                  <a:cubicBezTo>
                    <a:pt x="1499" y="153"/>
                    <a:pt x="1521" y="155"/>
                    <a:pt x="1529" y="149"/>
                  </a:cubicBezTo>
                  <a:cubicBezTo>
                    <a:pt x="1527" y="148"/>
                    <a:pt x="1525" y="147"/>
                    <a:pt x="1523" y="146"/>
                  </a:cubicBezTo>
                  <a:cubicBezTo>
                    <a:pt x="1538" y="139"/>
                    <a:pt x="1563" y="144"/>
                    <a:pt x="1577" y="152"/>
                  </a:cubicBezTo>
                  <a:cubicBezTo>
                    <a:pt x="1577" y="141"/>
                    <a:pt x="1563" y="145"/>
                    <a:pt x="1556" y="137"/>
                  </a:cubicBezTo>
                  <a:cubicBezTo>
                    <a:pt x="1547" y="128"/>
                    <a:pt x="1555" y="124"/>
                    <a:pt x="1550" y="112"/>
                  </a:cubicBezTo>
                  <a:cubicBezTo>
                    <a:pt x="1572" y="109"/>
                    <a:pt x="1578" y="125"/>
                    <a:pt x="1593" y="138"/>
                  </a:cubicBezTo>
                  <a:cubicBezTo>
                    <a:pt x="1600" y="144"/>
                    <a:pt x="1620" y="156"/>
                    <a:pt x="1602" y="164"/>
                  </a:cubicBezTo>
                  <a:cubicBezTo>
                    <a:pt x="1601" y="162"/>
                    <a:pt x="1596" y="161"/>
                    <a:pt x="1591" y="162"/>
                  </a:cubicBezTo>
                  <a:cubicBezTo>
                    <a:pt x="1593" y="163"/>
                    <a:pt x="1595" y="164"/>
                    <a:pt x="1597" y="164"/>
                  </a:cubicBezTo>
                  <a:cubicBezTo>
                    <a:pt x="1613" y="167"/>
                    <a:pt x="1629" y="157"/>
                    <a:pt x="1612" y="145"/>
                  </a:cubicBezTo>
                  <a:cubicBezTo>
                    <a:pt x="1618" y="141"/>
                    <a:pt x="1625" y="142"/>
                    <a:pt x="1631" y="146"/>
                  </a:cubicBezTo>
                  <a:cubicBezTo>
                    <a:pt x="1628" y="137"/>
                    <a:pt x="1609" y="142"/>
                    <a:pt x="1600" y="138"/>
                  </a:cubicBezTo>
                  <a:cubicBezTo>
                    <a:pt x="1589" y="133"/>
                    <a:pt x="1587" y="119"/>
                    <a:pt x="1581" y="111"/>
                  </a:cubicBezTo>
                  <a:cubicBezTo>
                    <a:pt x="1594" y="119"/>
                    <a:pt x="1603" y="125"/>
                    <a:pt x="1620" y="125"/>
                  </a:cubicBezTo>
                  <a:cubicBezTo>
                    <a:pt x="1611" y="123"/>
                    <a:pt x="1602" y="123"/>
                    <a:pt x="1594" y="118"/>
                  </a:cubicBezTo>
                  <a:cubicBezTo>
                    <a:pt x="1599" y="118"/>
                    <a:pt x="1604" y="116"/>
                    <a:pt x="1609" y="116"/>
                  </a:cubicBezTo>
                  <a:cubicBezTo>
                    <a:pt x="1606" y="114"/>
                    <a:pt x="1605" y="116"/>
                    <a:pt x="1602" y="116"/>
                  </a:cubicBezTo>
                  <a:cubicBezTo>
                    <a:pt x="1607" y="111"/>
                    <a:pt x="1615" y="111"/>
                    <a:pt x="1622" y="112"/>
                  </a:cubicBezTo>
                  <a:cubicBezTo>
                    <a:pt x="1621" y="112"/>
                    <a:pt x="1620" y="111"/>
                    <a:pt x="1619" y="110"/>
                  </a:cubicBezTo>
                  <a:cubicBezTo>
                    <a:pt x="1600" y="98"/>
                    <a:pt x="1624" y="97"/>
                    <a:pt x="1638" y="94"/>
                  </a:cubicBezTo>
                  <a:cubicBezTo>
                    <a:pt x="1635" y="99"/>
                    <a:pt x="1637" y="98"/>
                    <a:pt x="1639" y="99"/>
                  </a:cubicBezTo>
                  <a:cubicBezTo>
                    <a:pt x="1638" y="98"/>
                    <a:pt x="1638" y="98"/>
                    <a:pt x="1637" y="98"/>
                  </a:cubicBezTo>
                  <a:cubicBezTo>
                    <a:pt x="1639" y="97"/>
                    <a:pt x="1641" y="95"/>
                    <a:pt x="1642" y="94"/>
                  </a:cubicBezTo>
                  <a:cubicBezTo>
                    <a:pt x="1636" y="93"/>
                    <a:pt x="1629" y="91"/>
                    <a:pt x="1624" y="90"/>
                  </a:cubicBezTo>
                  <a:cubicBezTo>
                    <a:pt x="1625" y="88"/>
                    <a:pt x="1625" y="88"/>
                    <a:pt x="1624" y="87"/>
                  </a:cubicBezTo>
                  <a:cubicBezTo>
                    <a:pt x="1625" y="86"/>
                    <a:pt x="1625" y="85"/>
                    <a:pt x="1625" y="85"/>
                  </a:cubicBezTo>
                  <a:cubicBezTo>
                    <a:pt x="1624" y="85"/>
                    <a:pt x="1623" y="85"/>
                    <a:pt x="1622" y="84"/>
                  </a:cubicBezTo>
                  <a:cubicBezTo>
                    <a:pt x="1623" y="84"/>
                    <a:pt x="1624" y="84"/>
                    <a:pt x="1626" y="84"/>
                  </a:cubicBezTo>
                  <a:cubicBezTo>
                    <a:pt x="1626" y="84"/>
                    <a:pt x="1625" y="83"/>
                    <a:pt x="1626" y="83"/>
                  </a:cubicBezTo>
                  <a:cubicBezTo>
                    <a:pt x="1634" y="79"/>
                    <a:pt x="1642" y="74"/>
                    <a:pt x="1651" y="71"/>
                  </a:cubicBezTo>
                  <a:cubicBezTo>
                    <a:pt x="1648" y="72"/>
                    <a:pt x="1646" y="71"/>
                    <a:pt x="1644" y="70"/>
                  </a:cubicBezTo>
                  <a:cubicBezTo>
                    <a:pt x="1657" y="67"/>
                    <a:pt x="1667" y="69"/>
                    <a:pt x="1681" y="67"/>
                  </a:cubicBezTo>
                  <a:cubicBezTo>
                    <a:pt x="1678" y="65"/>
                    <a:pt x="1675" y="64"/>
                    <a:pt x="1672" y="62"/>
                  </a:cubicBezTo>
                  <a:cubicBezTo>
                    <a:pt x="1676" y="62"/>
                    <a:pt x="1679" y="62"/>
                    <a:pt x="1682" y="61"/>
                  </a:cubicBezTo>
                  <a:cubicBezTo>
                    <a:pt x="1671" y="58"/>
                    <a:pt x="1665" y="48"/>
                    <a:pt x="1682" y="45"/>
                  </a:cubicBezTo>
                  <a:cubicBezTo>
                    <a:pt x="1679" y="46"/>
                    <a:pt x="1698" y="50"/>
                    <a:pt x="1699" y="50"/>
                  </a:cubicBezTo>
                  <a:cubicBezTo>
                    <a:pt x="1707" y="52"/>
                    <a:pt x="1704" y="53"/>
                    <a:pt x="1711" y="53"/>
                  </a:cubicBezTo>
                  <a:cubicBezTo>
                    <a:pt x="1721" y="53"/>
                    <a:pt x="1750" y="48"/>
                    <a:pt x="1757" y="61"/>
                  </a:cubicBezTo>
                  <a:cubicBezTo>
                    <a:pt x="1760" y="67"/>
                    <a:pt x="1751" y="85"/>
                    <a:pt x="1751" y="92"/>
                  </a:cubicBezTo>
                  <a:cubicBezTo>
                    <a:pt x="1755" y="87"/>
                    <a:pt x="1760" y="84"/>
                    <a:pt x="1767" y="80"/>
                  </a:cubicBezTo>
                  <a:cubicBezTo>
                    <a:pt x="1763" y="79"/>
                    <a:pt x="1762" y="78"/>
                    <a:pt x="1759" y="77"/>
                  </a:cubicBezTo>
                  <a:cubicBezTo>
                    <a:pt x="1765" y="78"/>
                    <a:pt x="1771" y="78"/>
                    <a:pt x="1778" y="78"/>
                  </a:cubicBezTo>
                  <a:cubicBezTo>
                    <a:pt x="1777" y="77"/>
                    <a:pt x="1776" y="76"/>
                    <a:pt x="1776" y="75"/>
                  </a:cubicBezTo>
                  <a:cubicBezTo>
                    <a:pt x="1780" y="76"/>
                    <a:pt x="1783" y="78"/>
                    <a:pt x="1785" y="81"/>
                  </a:cubicBezTo>
                  <a:cubicBezTo>
                    <a:pt x="1793" y="68"/>
                    <a:pt x="1814" y="77"/>
                    <a:pt x="1826" y="78"/>
                  </a:cubicBezTo>
                  <a:cubicBezTo>
                    <a:pt x="1852" y="79"/>
                    <a:pt x="1866" y="68"/>
                    <a:pt x="1889" y="80"/>
                  </a:cubicBezTo>
                  <a:cubicBezTo>
                    <a:pt x="1886" y="79"/>
                    <a:pt x="1883" y="79"/>
                    <a:pt x="1879" y="79"/>
                  </a:cubicBezTo>
                  <a:cubicBezTo>
                    <a:pt x="1890" y="83"/>
                    <a:pt x="1907" y="91"/>
                    <a:pt x="1915" y="84"/>
                  </a:cubicBezTo>
                  <a:cubicBezTo>
                    <a:pt x="1912" y="82"/>
                    <a:pt x="1910" y="79"/>
                    <a:pt x="1907" y="77"/>
                  </a:cubicBezTo>
                  <a:cubicBezTo>
                    <a:pt x="1922" y="84"/>
                    <a:pt x="1934" y="74"/>
                    <a:pt x="1949" y="79"/>
                  </a:cubicBezTo>
                  <a:cubicBezTo>
                    <a:pt x="1950" y="76"/>
                    <a:pt x="1950" y="75"/>
                    <a:pt x="1951" y="72"/>
                  </a:cubicBezTo>
                  <a:cubicBezTo>
                    <a:pt x="1947" y="68"/>
                    <a:pt x="1943" y="66"/>
                    <a:pt x="1936" y="67"/>
                  </a:cubicBezTo>
                  <a:cubicBezTo>
                    <a:pt x="1939" y="65"/>
                    <a:pt x="1941" y="64"/>
                    <a:pt x="1943" y="63"/>
                  </a:cubicBezTo>
                  <a:cubicBezTo>
                    <a:pt x="1940" y="63"/>
                    <a:pt x="1937" y="62"/>
                    <a:pt x="1934" y="61"/>
                  </a:cubicBezTo>
                  <a:cubicBezTo>
                    <a:pt x="1947" y="60"/>
                    <a:pt x="1961" y="60"/>
                    <a:pt x="1975" y="60"/>
                  </a:cubicBezTo>
                  <a:cubicBezTo>
                    <a:pt x="1971" y="61"/>
                    <a:pt x="1968" y="61"/>
                    <a:pt x="1964" y="62"/>
                  </a:cubicBezTo>
                  <a:cubicBezTo>
                    <a:pt x="1969" y="62"/>
                    <a:pt x="1973" y="61"/>
                    <a:pt x="1977" y="63"/>
                  </a:cubicBezTo>
                  <a:cubicBezTo>
                    <a:pt x="1976" y="63"/>
                    <a:pt x="1973" y="63"/>
                    <a:pt x="1973" y="63"/>
                  </a:cubicBezTo>
                  <a:cubicBezTo>
                    <a:pt x="1975" y="64"/>
                    <a:pt x="1977" y="64"/>
                    <a:pt x="1975" y="66"/>
                  </a:cubicBezTo>
                  <a:cubicBezTo>
                    <a:pt x="1977" y="66"/>
                    <a:pt x="1978" y="65"/>
                    <a:pt x="1980" y="65"/>
                  </a:cubicBezTo>
                  <a:cubicBezTo>
                    <a:pt x="1979" y="63"/>
                    <a:pt x="1978" y="61"/>
                    <a:pt x="1977" y="60"/>
                  </a:cubicBezTo>
                  <a:cubicBezTo>
                    <a:pt x="1984" y="57"/>
                    <a:pt x="1992" y="57"/>
                    <a:pt x="1999" y="60"/>
                  </a:cubicBezTo>
                  <a:cubicBezTo>
                    <a:pt x="1995" y="60"/>
                    <a:pt x="1995" y="60"/>
                    <a:pt x="1995" y="60"/>
                  </a:cubicBezTo>
                  <a:cubicBezTo>
                    <a:pt x="2005" y="65"/>
                    <a:pt x="2021" y="62"/>
                    <a:pt x="2024" y="68"/>
                  </a:cubicBezTo>
                  <a:cubicBezTo>
                    <a:pt x="2039" y="68"/>
                    <a:pt x="2052" y="58"/>
                    <a:pt x="2068" y="62"/>
                  </a:cubicBezTo>
                  <a:cubicBezTo>
                    <a:pt x="2079" y="64"/>
                    <a:pt x="2095" y="70"/>
                    <a:pt x="2105" y="75"/>
                  </a:cubicBezTo>
                  <a:cubicBezTo>
                    <a:pt x="2103" y="73"/>
                    <a:pt x="2103" y="73"/>
                    <a:pt x="2103" y="73"/>
                  </a:cubicBezTo>
                  <a:cubicBezTo>
                    <a:pt x="2109" y="75"/>
                    <a:pt x="2109" y="75"/>
                    <a:pt x="2109" y="75"/>
                  </a:cubicBezTo>
                  <a:cubicBezTo>
                    <a:pt x="2106" y="73"/>
                    <a:pt x="2104" y="72"/>
                    <a:pt x="2103" y="69"/>
                  </a:cubicBezTo>
                  <a:cubicBezTo>
                    <a:pt x="2119" y="63"/>
                    <a:pt x="2140" y="62"/>
                    <a:pt x="2156" y="69"/>
                  </a:cubicBezTo>
                  <a:cubicBezTo>
                    <a:pt x="2153" y="62"/>
                    <a:pt x="2145" y="58"/>
                    <a:pt x="2138" y="55"/>
                  </a:cubicBezTo>
                  <a:cubicBezTo>
                    <a:pt x="2160" y="55"/>
                    <a:pt x="2182" y="49"/>
                    <a:pt x="2204" y="55"/>
                  </a:cubicBezTo>
                  <a:cubicBezTo>
                    <a:pt x="2200" y="54"/>
                    <a:pt x="2200" y="54"/>
                    <a:pt x="2200" y="54"/>
                  </a:cubicBezTo>
                  <a:cubicBezTo>
                    <a:pt x="2214" y="57"/>
                    <a:pt x="2230" y="54"/>
                    <a:pt x="2244" y="58"/>
                  </a:cubicBezTo>
                  <a:cubicBezTo>
                    <a:pt x="2243" y="57"/>
                    <a:pt x="2243" y="57"/>
                    <a:pt x="2243" y="57"/>
                  </a:cubicBezTo>
                  <a:cubicBezTo>
                    <a:pt x="2253" y="58"/>
                    <a:pt x="2262" y="62"/>
                    <a:pt x="2272" y="64"/>
                  </a:cubicBezTo>
                  <a:cubicBezTo>
                    <a:pt x="2267" y="62"/>
                    <a:pt x="2263" y="60"/>
                    <a:pt x="2259" y="58"/>
                  </a:cubicBezTo>
                  <a:cubicBezTo>
                    <a:pt x="2276" y="48"/>
                    <a:pt x="2297" y="65"/>
                    <a:pt x="2308" y="79"/>
                  </a:cubicBezTo>
                  <a:cubicBezTo>
                    <a:pt x="2298" y="80"/>
                    <a:pt x="2280" y="72"/>
                    <a:pt x="2276" y="82"/>
                  </a:cubicBezTo>
                  <a:cubicBezTo>
                    <a:pt x="2269" y="80"/>
                    <a:pt x="2264" y="78"/>
                    <a:pt x="2258" y="77"/>
                  </a:cubicBezTo>
                  <a:cubicBezTo>
                    <a:pt x="2263" y="82"/>
                    <a:pt x="2281" y="86"/>
                    <a:pt x="2281" y="94"/>
                  </a:cubicBezTo>
                  <a:cubicBezTo>
                    <a:pt x="2280" y="104"/>
                    <a:pt x="2266" y="90"/>
                    <a:pt x="2267" y="101"/>
                  </a:cubicBezTo>
                  <a:cubicBezTo>
                    <a:pt x="2275" y="96"/>
                    <a:pt x="2310" y="107"/>
                    <a:pt x="2319" y="116"/>
                  </a:cubicBezTo>
                  <a:cubicBezTo>
                    <a:pt x="2304" y="116"/>
                    <a:pt x="2291" y="133"/>
                    <a:pt x="2304" y="146"/>
                  </a:cubicBezTo>
                  <a:cubicBezTo>
                    <a:pt x="2294" y="144"/>
                    <a:pt x="2279" y="138"/>
                    <a:pt x="2278" y="151"/>
                  </a:cubicBezTo>
                  <a:cubicBezTo>
                    <a:pt x="2274" y="149"/>
                    <a:pt x="2271" y="150"/>
                    <a:pt x="2268" y="149"/>
                  </a:cubicBezTo>
                  <a:cubicBezTo>
                    <a:pt x="2271" y="170"/>
                    <a:pt x="2286" y="178"/>
                    <a:pt x="2306" y="183"/>
                  </a:cubicBezTo>
                  <a:cubicBezTo>
                    <a:pt x="2302" y="183"/>
                    <a:pt x="2299" y="183"/>
                    <a:pt x="2296" y="183"/>
                  </a:cubicBezTo>
                  <a:cubicBezTo>
                    <a:pt x="2300" y="189"/>
                    <a:pt x="2306" y="194"/>
                    <a:pt x="2313" y="196"/>
                  </a:cubicBezTo>
                  <a:cubicBezTo>
                    <a:pt x="2299" y="205"/>
                    <a:pt x="2321" y="217"/>
                    <a:pt x="2315" y="231"/>
                  </a:cubicBezTo>
                  <a:cubicBezTo>
                    <a:pt x="2289" y="215"/>
                    <a:pt x="2261" y="199"/>
                    <a:pt x="2246" y="177"/>
                  </a:cubicBezTo>
                  <a:cubicBezTo>
                    <a:pt x="2256" y="171"/>
                    <a:pt x="2243" y="122"/>
                    <a:pt x="2223" y="131"/>
                  </a:cubicBezTo>
                  <a:cubicBezTo>
                    <a:pt x="2230" y="134"/>
                    <a:pt x="2233" y="139"/>
                    <a:pt x="2232" y="147"/>
                  </a:cubicBezTo>
                  <a:cubicBezTo>
                    <a:pt x="2220" y="147"/>
                    <a:pt x="2208" y="140"/>
                    <a:pt x="2197" y="144"/>
                  </a:cubicBezTo>
                  <a:cubicBezTo>
                    <a:pt x="2202" y="153"/>
                    <a:pt x="2199" y="161"/>
                    <a:pt x="2209" y="168"/>
                  </a:cubicBezTo>
                  <a:cubicBezTo>
                    <a:pt x="2203" y="168"/>
                    <a:pt x="2198" y="170"/>
                    <a:pt x="2192" y="170"/>
                  </a:cubicBezTo>
                  <a:cubicBezTo>
                    <a:pt x="2194" y="169"/>
                    <a:pt x="2195" y="168"/>
                    <a:pt x="2196" y="167"/>
                  </a:cubicBezTo>
                  <a:cubicBezTo>
                    <a:pt x="2172" y="165"/>
                    <a:pt x="2154" y="169"/>
                    <a:pt x="2132" y="176"/>
                  </a:cubicBezTo>
                  <a:cubicBezTo>
                    <a:pt x="2133" y="187"/>
                    <a:pt x="2133" y="202"/>
                    <a:pt x="2126" y="213"/>
                  </a:cubicBezTo>
                  <a:cubicBezTo>
                    <a:pt x="2132" y="213"/>
                    <a:pt x="2160" y="229"/>
                    <a:pt x="2155" y="216"/>
                  </a:cubicBezTo>
                  <a:cubicBezTo>
                    <a:pt x="2182" y="221"/>
                    <a:pt x="2206" y="235"/>
                    <a:pt x="2214" y="261"/>
                  </a:cubicBezTo>
                  <a:cubicBezTo>
                    <a:pt x="2217" y="269"/>
                    <a:pt x="2217" y="277"/>
                    <a:pt x="2214" y="285"/>
                  </a:cubicBezTo>
                  <a:cubicBezTo>
                    <a:pt x="2207" y="302"/>
                    <a:pt x="2199" y="293"/>
                    <a:pt x="2188" y="302"/>
                  </a:cubicBezTo>
                  <a:cubicBezTo>
                    <a:pt x="2186" y="300"/>
                    <a:pt x="2183" y="297"/>
                    <a:pt x="2181" y="295"/>
                  </a:cubicBezTo>
                  <a:cubicBezTo>
                    <a:pt x="2184" y="301"/>
                    <a:pt x="2184" y="310"/>
                    <a:pt x="2184" y="315"/>
                  </a:cubicBezTo>
                  <a:cubicBezTo>
                    <a:pt x="2185" y="320"/>
                    <a:pt x="2174" y="319"/>
                    <a:pt x="2178" y="326"/>
                  </a:cubicBezTo>
                  <a:cubicBezTo>
                    <a:pt x="2179" y="327"/>
                    <a:pt x="2193" y="332"/>
                    <a:pt x="2195" y="333"/>
                  </a:cubicBezTo>
                  <a:cubicBezTo>
                    <a:pt x="2204" y="338"/>
                    <a:pt x="2220" y="345"/>
                    <a:pt x="2211" y="353"/>
                  </a:cubicBezTo>
                  <a:cubicBezTo>
                    <a:pt x="2200" y="364"/>
                    <a:pt x="2192" y="346"/>
                    <a:pt x="2182" y="343"/>
                  </a:cubicBezTo>
                  <a:cubicBezTo>
                    <a:pt x="2184" y="341"/>
                    <a:pt x="2185" y="341"/>
                    <a:pt x="2188" y="342"/>
                  </a:cubicBezTo>
                  <a:cubicBezTo>
                    <a:pt x="2180" y="334"/>
                    <a:pt x="2172" y="337"/>
                    <a:pt x="2164" y="332"/>
                  </a:cubicBezTo>
                  <a:cubicBezTo>
                    <a:pt x="2166" y="330"/>
                    <a:pt x="2167" y="332"/>
                    <a:pt x="2168" y="330"/>
                  </a:cubicBezTo>
                  <a:cubicBezTo>
                    <a:pt x="2160" y="327"/>
                    <a:pt x="2146" y="317"/>
                    <a:pt x="2135" y="331"/>
                  </a:cubicBezTo>
                  <a:cubicBezTo>
                    <a:pt x="2124" y="307"/>
                    <a:pt x="2121" y="326"/>
                    <a:pt x="2103" y="329"/>
                  </a:cubicBezTo>
                  <a:cubicBezTo>
                    <a:pt x="2115" y="349"/>
                    <a:pt x="2135" y="335"/>
                    <a:pt x="2153" y="341"/>
                  </a:cubicBezTo>
                  <a:cubicBezTo>
                    <a:pt x="2144" y="344"/>
                    <a:pt x="2131" y="347"/>
                    <a:pt x="2137" y="358"/>
                  </a:cubicBezTo>
                  <a:cubicBezTo>
                    <a:pt x="2139" y="361"/>
                    <a:pt x="2167" y="373"/>
                    <a:pt x="2172" y="375"/>
                  </a:cubicBezTo>
                  <a:cubicBezTo>
                    <a:pt x="2163" y="375"/>
                    <a:pt x="2155" y="371"/>
                    <a:pt x="2146" y="374"/>
                  </a:cubicBezTo>
                  <a:cubicBezTo>
                    <a:pt x="2156" y="373"/>
                    <a:pt x="2166" y="375"/>
                    <a:pt x="2175" y="380"/>
                  </a:cubicBezTo>
                  <a:cubicBezTo>
                    <a:pt x="2171" y="382"/>
                    <a:pt x="2167" y="384"/>
                    <a:pt x="2162" y="384"/>
                  </a:cubicBezTo>
                  <a:cubicBezTo>
                    <a:pt x="2170" y="384"/>
                    <a:pt x="2177" y="384"/>
                    <a:pt x="2176" y="389"/>
                  </a:cubicBezTo>
                  <a:cubicBezTo>
                    <a:pt x="2178" y="389"/>
                    <a:pt x="2181" y="389"/>
                    <a:pt x="2183" y="390"/>
                  </a:cubicBezTo>
                  <a:cubicBezTo>
                    <a:pt x="2178" y="391"/>
                    <a:pt x="2178" y="391"/>
                    <a:pt x="2178" y="391"/>
                  </a:cubicBezTo>
                  <a:cubicBezTo>
                    <a:pt x="2179" y="395"/>
                    <a:pt x="2177" y="417"/>
                    <a:pt x="2166" y="420"/>
                  </a:cubicBezTo>
                  <a:cubicBezTo>
                    <a:pt x="2165" y="423"/>
                    <a:pt x="2149" y="429"/>
                    <a:pt x="2140" y="433"/>
                  </a:cubicBezTo>
                  <a:cubicBezTo>
                    <a:pt x="2140" y="433"/>
                    <a:pt x="2137" y="429"/>
                    <a:pt x="2136" y="430"/>
                  </a:cubicBezTo>
                  <a:cubicBezTo>
                    <a:pt x="2132" y="431"/>
                    <a:pt x="2132" y="436"/>
                    <a:pt x="2128" y="437"/>
                  </a:cubicBezTo>
                  <a:cubicBezTo>
                    <a:pt x="2121" y="439"/>
                    <a:pt x="2118" y="442"/>
                    <a:pt x="2112" y="443"/>
                  </a:cubicBezTo>
                  <a:cubicBezTo>
                    <a:pt x="2107" y="443"/>
                    <a:pt x="2103" y="438"/>
                    <a:pt x="2098" y="438"/>
                  </a:cubicBezTo>
                  <a:cubicBezTo>
                    <a:pt x="2091" y="439"/>
                    <a:pt x="2079" y="446"/>
                    <a:pt x="2081" y="453"/>
                  </a:cubicBezTo>
                  <a:cubicBezTo>
                    <a:pt x="2084" y="463"/>
                    <a:pt x="2112" y="466"/>
                    <a:pt x="2119" y="473"/>
                  </a:cubicBezTo>
                  <a:cubicBezTo>
                    <a:pt x="2131" y="486"/>
                    <a:pt x="2129" y="501"/>
                    <a:pt x="2110" y="503"/>
                  </a:cubicBezTo>
                  <a:cubicBezTo>
                    <a:pt x="2109" y="504"/>
                    <a:pt x="2106" y="508"/>
                    <a:pt x="2100" y="511"/>
                  </a:cubicBezTo>
                  <a:cubicBezTo>
                    <a:pt x="2100" y="504"/>
                    <a:pt x="2097" y="508"/>
                    <a:pt x="2100" y="502"/>
                  </a:cubicBezTo>
                  <a:cubicBezTo>
                    <a:pt x="2090" y="499"/>
                    <a:pt x="2059" y="480"/>
                    <a:pt x="2048" y="490"/>
                  </a:cubicBezTo>
                  <a:cubicBezTo>
                    <a:pt x="2038" y="500"/>
                    <a:pt x="2056" y="514"/>
                    <a:pt x="2065" y="519"/>
                  </a:cubicBezTo>
                  <a:cubicBezTo>
                    <a:pt x="2076" y="525"/>
                    <a:pt x="2087" y="526"/>
                    <a:pt x="2097" y="534"/>
                  </a:cubicBezTo>
                  <a:cubicBezTo>
                    <a:pt x="2102" y="539"/>
                    <a:pt x="2103" y="546"/>
                    <a:pt x="2111" y="551"/>
                  </a:cubicBezTo>
                  <a:cubicBezTo>
                    <a:pt x="2092" y="553"/>
                    <a:pt x="2081" y="543"/>
                    <a:pt x="2070" y="532"/>
                  </a:cubicBezTo>
                  <a:cubicBezTo>
                    <a:pt x="2065" y="528"/>
                    <a:pt x="2056" y="523"/>
                    <a:pt x="2050" y="517"/>
                  </a:cubicBezTo>
                  <a:cubicBezTo>
                    <a:pt x="2043" y="512"/>
                    <a:pt x="2038" y="506"/>
                    <a:pt x="2040" y="501"/>
                  </a:cubicBezTo>
                  <a:cubicBezTo>
                    <a:pt x="2039" y="501"/>
                    <a:pt x="2033" y="484"/>
                    <a:pt x="2028" y="483"/>
                  </a:cubicBezTo>
                  <a:cubicBezTo>
                    <a:pt x="2027" y="480"/>
                    <a:pt x="2024" y="478"/>
                    <a:pt x="2022" y="476"/>
                  </a:cubicBezTo>
                  <a:close/>
                  <a:moveTo>
                    <a:pt x="1199" y="220"/>
                  </a:moveTo>
                  <a:cubicBezTo>
                    <a:pt x="1198" y="221"/>
                    <a:pt x="1197" y="221"/>
                    <a:pt x="1197" y="221"/>
                  </a:cubicBezTo>
                  <a:cubicBezTo>
                    <a:pt x="1197" y="221"/>
                    <a:pt x="1198" y="221"/>
                    <a:pt x="1199" y="222"/>
                  </a:cubicBezTo>
                  <a:cubicBezTo>
                    <a:pt x="1198" y="221"/>
                    <a:pt x="1198" y="221"/>
                    <a:pt x="1199" y="220"/>
                  </a:cubicBezTo>
                  <a:close/>
                  <a:moveTo>
                    <a:pt x="1334" y="164"/>
                  </a:moveTo>
                  <a:cubicBezTo>
                    <a:pt x="1331" y="162"/>
                    <a:pt x="1331" y="162"/>
                    <a:pt x="1331" y="162"/>
                  </a:cubicBezTo>
                  <a:cubicBezTo>
                    <a:pt x="1331" y="162"/>
                    <a:pt x="1331" y="161"/>
                    <a:pt x="1330" y="160"/>
                  </a:cubicBezTo>
                  <a:cubicBezTo>
                    <a:pt x="1332" y="158"/>
                    <a:pt x="1332" y="158"/>
                    <a:pt x="1332" y="158"/>
                  </a:cubicBezTo>
                  <a:cubicBezTo>
                    <a:pt x="1331" y="158"/>
                    <a:pt x="1330" y="158"/>
                    <a:pt x="1329" y="158"/>
                  </a:cubicBezTo>
                  <a:cubicBezTo>
                    <a:pt x="1330" y="158"/>
                    <a:pt x="1331" y="159"/>
                    <a:pt x="1330" y="160"/>
                  </a:cubicBezTo>
                  <a:cubicBezTo>
                    <a:pt x="1330" y="161"/>
                    <a:pt x="1330" y="161"/>
                    <a:pt x="1330" y="161"/>
                  </a:cubicBezTo>
                  <a:cubicBezTo>
                    <a:pt x="1330" y="161"/>
                    <a:pt x="1331" y="162"/>
                    <a:pt x="1331" y="162"/>
                  </a:cubicBezTo>
                  <a:cubicBezTo>
                    <a:pt x="1331" y="163"/>
                    <a:pt x="1332" y="164"/>
                    <a:pt x="1333" y="164"/>
                  </a:cubicBezTo>
                  <a:lnTo>
                    <a:pt x="1334" y="164"/>
                  </a:lnTo>
                  <a:close/>
                  <a:moveTo>
                    <a:pt x="1347" y="182"/>
                  </a:moveTo>
                  <a:cubicBezTo>
                    <a:pt x="1347" y="185"/>
                    <a:pt x="1347" y="186"/>
                    <a:pt x="1348" y="188"/>
                  </a:cubicBezTo>
                  <a:cubicBezTo>
                    <a:pt x="1350" y="187"/>
                    <a:pt x="1349" y="184"/>
                    <a:pt x="1347" y="182"/>
                  </a:cubicBezTo>
                  <a:close/>
                  <a:moveTo>
                    <a:pt x="1352" y="192"/>
                  </a:moveTo>
                  <a:cubicBezTo>
                    <a:pt x="1351" y="189"/>
                    <a:pt x="1351" y="189"/>
                    <a:pt x="1351" y="189"/>
                  </a:cubicBezTo>
                  <a:cubicBezTo>
                    <a:pt x="1350" y="190"/>
                    <a:pt x="1351" y="191"/>
                    <a:pt x="1352" y="192"/>
                  </a:cubicBezTo>
                  <a:close/>
                  <a:moveTo>
                    <a:pt x="1358" y="199"/>
                  </a:moveTo>
                  <a:cubicBezTo>
                    <a:pt x="1352" y="196"/>
                    <a:pt x="1352" y="196"/>
                    <a:pt x="1352" y="196"/>
                  </a:cubicBezTo>
                  <a:cubicBezTo>
                    <a:pt x="1354" y="198"/>
                    <a:pt x="1356" y="199"/>
                    <a:pt x="1358" y="199"/>
                  </a:cubicBezTo>
                  <a:close/>
                  <a:moveTo>
                    <a:pt x="1366" y="329"/>
                  </a:moveTo>
                  <a:cubicBezTo>
                    <a:pt x="1364" y="329"/>
                    <a:pt x="1364" y="329"/>
                    <a:pt x="1364" y="329"/>
                  </a:cubicBezTo>
                  <a:cubicBezTo>
                    <a:pt x="1365" y="329"/>
                    <a:pt x="1365" y="329"/>
                    <a:pt x="1365" y="329"/>
                  </a:cubicBezTo>
                  <a:lnTo>
                    <a:pt x="1366" y="329"/>
                  </a:lnTo>
                  <a:close/>
                  <a:moveTo>
                    <a:pt x="1539" y="463"/>
                  </a:moveTo>
                  <a:cubicBezTo>
                    <a:pt x="1538" y="463"/>
                    <a:pt x="1537" y="462"/>
                    <a:pt x="1536" y="462"/>
                  </a:cubicBezTo>
                  <a:cubicBezTo>
                    <a:pt x="1538" y="463"/>
                    <a:pt x="1538" y="463"/>
                    <a:pt x="1538" y="463"/>
                  </a:cubicBezTo>
                  <a:lnTo>
                    <a:pt x="1539" y="463"/>
                  </a:lnTo>
                  <a:close/>
                  <a:moveTo>
                    <a:pt x="1557" y="395"/>
                  </a:moveTo>
                  <a:cubicBezTo>
                    <a:pt x="1556" y="395"/>
                    <a:pt x="1555" y="395"/>
                    <a:pt x="1553" y="395"/>
                  </a:cubicBezTo>
                  <a:cubicBezTo>
                    <a:pt x="1555" y="395"/>
                    <a:pt x="1556" y="395"/>
                    <a:pt x="1557" y="395"/>
                  </a:cubicBezTo>
                  <a:close/>
                  <a:moveTo>
                    <a:pt x="1592" y="357"/>
                  </a:moveTo>
                  <a:cubicBezTo>
                    <a:pt x="1591" y="348"/>
                    <a:pt x="1579" y="337"/>
                    <a:pt x="1574" y="333"/>
                  </a:cubicBezTo>
                  <a:cubicBezTo>
                    <a:pt x="1566" y="325"/>
                    <a:pt x="1534" y="308"/>
                    <a:pt x="1561" y="305"/>
                  </a:cubicBezTo>
                  <a:cubicBezTo>
                    <a:pt x="1556" y="292"/>
                    <a:pt x="1538" y="298"/>
                    <a:pt x="1527" y="300"/>
                  </a:cubicBezTo>
                  <a:cubicBezTo>
                    <a:pt x="1523" y="317"/>
                    <a:pt x="1512" y="312"/>
                    <a:pt x="1537" y="327"/>
                  </a:cubicBezTo>
                  <a:cubicBezTo>
                    <a:pt x="1536" y="328"/>
                    <a:pt x="1535" y="329"/>
                    <a:pt x="1534" y="329"/>
                  </a:cubicBezTo>
                  <a:cubicBezTo>
                    <a:pt x="1541" y="329"/>
                    <a:pt x="1546" y="333"/>
                    <a:pt x="1554" y="336"/>
                  </a:cubicBezTo>
                  <a:cubicBezTo>
                    <a:pt x="1525" y="351"/>
                    <a:pt x="1579" y="357"/>
                    <a:pt x="1592" y="357"/>
                  </a:cubicBezTo>
                  <a:close/>
                  <a:moveTo>
                    <a:pt x="999" y="159"/>
                  </a:moveTo>
                  <a:cubicBezTo>
                    <a:pt x="988" y="161"/>
                    <a:pt x="964" y="168"/>
                    <a:pt x="958" y="159"/>
                  </a:cubicBezTo>
                  <a:cubicBezTo>
                    <a:pt x="959" y="171"/>
                    <a:pt x="927" y="179"/>
                    <a:pt x="916" y="177"/>
                  </a:cubicBezTo>
                  <a:cubicBezTo>
                    <a:pt x="917" y="176"/>
                    <a:pt x="917" y="176"/>
                    <a:pt x="918" y="175"/>
                  </a:cubicBezTo>
                  <a:cubicBezTo>
                    <a:pt x="918" y="175"/>
                    <a:pt x="917" y="175"/>
                    <a:pt x="917" y="174"/>
                  </a:cubicBezTo>
                  <a:cubicBezTo>
                    <a:pt x="912" y="181"/>
                    <a:pt x="893" y="185"/>
                    <a:pt x="886" y="188"/>
                  </a:cubicBezTo>
                  <a:cubicBezTo>
                    <a:pt x="887" y="189"/>
                    <a:pt x="889" y="190"/>
                    <a:pt x="890" y="192"/>
                  </a:cubicBezTo>
                  <a:cubicBezTo>
                    <a:pt x="888" y="192"/>
                    <a:pt x="886" y="191"/>
                    <a:pt x="885" y="192"/>
                  </a:cubicBezTo>
                  <a:cubicBezTo>
                    <a:pt x="884" y="192"/>
                    <a:pt x="888" y="193"/>
                    <a:pt x="888" y="194"/>
                  </a:cubicBezTo>
                  <a:cubicBezTo>
                    <a:pt x="886" y="194"/>
                    <a:pt x="884" y="194"/>
                    <a:pt x="882" y="194"/>
                  </a:cubicBezTo>
                  <a:cubicBezTo>
                    <a:pt x="882" y="195"/>
                    <a:pt x="885" y="194"/>
                    <a:pt x="885" y="195"/>
                  </a:cubicBezTo>
                  <a:cubicBezTo>
                    <a:pt x="884" y="195"/>
                    <a:pt x="882" y="194"/>
                    <a:pt x="881" y="194"/>
                  </a:cubicBezTo>
                  <a:cubicBezTo>
                    <a:pt x="882" y="195"/>
                    <a:pt x="882" y="195"/>
                    <a:pt x="883" y="195"/>
                  </a:cubicBezTo>
                  <a:cubicBezTo>
                    <a:pt x="878" y="195"/>
                    <a:pt x="881" y="195"/>
                    <a:pt x="881" y="196"/>
                  </a:cubicBezTo>
                  <a:cubicBezTo>
                    <a:pt x="879" y="197"/>
                    <a:pt x="876" y="199"/>
                    <a:pt x="872" y="199"/>
                  </a:cubicBezTo>
                  <a:cubicBezTo>
                    <a:pt x="874" y="200"/>
                    <a:pt x="874" y="200"/>
                    <a:pt x="875" y="202"/>
                  </a:cubicBezTo>
                  <a:cubicBezTo>
                    <a:pt x="874" y="202"/>
                    <a:pt x="872" y="201"/>
                    <a:pt x="871" y="201"/>
                  </a:cubicBezTo>
                  <a:cubicBezTo>
                    <a:pt x="873" y="205"/>
                    <a:pt x="870" y="208"/>
                    <a:pt x="863" y="210"/>
                  </a:cubicBezTo>
                  <a:cubicBezTo>
                    <a:pt x="865" y="210"/>
                    <a:pt x="868" y="209"/>
                    <a:pt x="866" y="211"/>
                  </a:cubicBezTo>
                  <a:cubicBezTo>
                    <a:pt x="864" y="211"/>
                    <a:pt x="863" y="211"/>
                    <a:pt x="861" y="211"/>
                  </a:cubicBezTo>
                  <a:cubicBezTo>
                    <a:pt x="863" y="212"/>
                    <a:pt x="865" y="212"/>
                    <a:pt x="864" y="214"/>
                  </a:cubicBezTo>
                  <a:cubicBezTo>
                    <a:pt x="861" y="214"/>
                    <a:pt x="859" y="214"/>
                    <a:pt x="857" y="213"/>
                  </a:cubicBezTo>
                  <a:cubicBezTo>
                    <a:pt x="856" y="217"/>
                    <a:pt x="854" y="216"/>
                    <a:pt x="852" y="214"/>
                  </a:cubicBezTo>
                  <a:cubicBezTo>
                    <a:pt x="851" y="215"/>
                    <a:pt x="850" y="215"/>
                    <a:pt x="848" y="216"/>
                  </a:cubicBezTo>
                  <a:cubicBezTo>
                    <a:pt x="849" y="215"/>
                    <a:pt x="850" y="214"/>
                    <a:pt x="851" y="213"/>
                  </a:cubicBezTo>
                  <a:cubicBezTo>
                    <a:pt x="849" y="214"/>
                    <a:pt x="847" y="215"/>
                    <a:pt x="849" y="213"/>
                  </a:cubicBezTo>
                  <a:cubicBezTo>
                    <a:pt x="844" y="213"/>
                    <a:pt x="846" y="212"/>
                    <a:pt x="849" y="211"/>
                  </a:cubicBezTo>
                  <a:cubicBezTo>
                    <a:pt x="848" y="211"/>
                    <a:pt x="847" y="211"/>
                    <a:pt x="846" y="212"/>
                  </a:cubicBezTo>
                  <a:cubicBezTo>
                    <a:pt x="848" y="211"/>
                    <a:pt x="849" y="210"/>
                    <a:pt x="851" y="209"/>
                  </a:cubicBezTo>
                  <a:cubicBezTo>
                    <a:pt x="849" y="210"/>
                    <a:pt x="846" y="210"/>
                    <a:pt x="844" y="211"/>
                  </a:cubicBezTo>
                  <a:cubicBezTo>
                    <a:pt x="845" y="209"/>
                    <a:pt x="848" y="210"/>
                    <a:pt x="847" y="208"/>
                  </a:cubicBezTo>
                  <a:cubicBezTo>
                    <a:pt x="841" y="210"/>
                    <a:pt x="837" y="210"/>
                    <a:pt x="831" y="211"/>
                  </a:cubicBezTo>
                  <a:cubicBezTo>
                    <a:pt x="831" y="211"/>
                    <a:pt x="833" y="209"/>
                    <a:pt x="833" y="208"/>
                  </a:cubicBezTo>
                  <a:cubicBezTo>
                    <a:pt x="828" y="207"/>
                    <a:pt x="829" y="207"/>
                    <a:pt x="824" y="206"/>
                  </a:cubicBezTo>
                  <a:cubicBezTo>
                    <a:pt x="829" y="203"/>
                    <a:pt x="825" y="203"/>
                    <a:pt x="825" y="204"/>
                  </a:cubicBezTo>
                  <a:cubicBezTo>
                    <a:pt x="825" y="201"/>
                    <a:pt x="824" y="202"/>
                    <a:pt x="826" y="197"/>
                  </a:cubicBezTo>
                  <a:cubicBezTo>
                    <a:pt x="825" y="195"/>
                    <a:pt x="823" y="195"/>
                    <a:pt x="822" y="195"/>
                  </a:cubicBezTo>
                  <a:cubicBezTo>
                    <a:pt x="825" y="194"/>
                    <a:pt x="824" y="193"/>
                    <a:pt x="821" y="194"/>
                  </a:cubicBezTo>
                  <a:cubicBezTo>
                    <a:pt x="822" y="193"/>
                    <a:pt x="823" y="192"/>
                    <a:pt x="824" y="193"/>
                  </a:cubicBezTo>
                  <a:cubicBezTo>
                    <a:pt x="819" y="192"/>
                    <a:pt x="822" y="191"/>
                    <a:pt x="826" y="190"/>
                  </a:cubicBezTo>
                  <a:cubicBezTo>
                    <a:pt x="821" y="190"/>
                    <a:pt x="817" y="190"/>
                    <a:pt x="823" y="189"/>
                  </a:cubicBezTo>
                  <a:cubicBezTo>
                    <a:pt x="816" y="187"/>
                    <a:pt x="826" y="187"/>
                    <a:pt x="829" y="187"/>
                  </a:cubicBezTo>
                  <a:cubicBezTo>
                    <a:pt x="826" y="187"/>
                    <a:pt x="824" y="187"/>
                    <a:pt x="821" y="187"/>
                  </a:cubicBezTo>
                  <a:cubicBezTo>
                    <a:pt x="827" y="186"/>
                    <a:pt x="830" y="185"/>
                    <a:pt x="832" y="183"/>
                  </a:cubicBezTo>
                  <a:cubicBezTo>
                    <a:pt x="828" y="184"/>
                    <a:pt x="822" y="184"/>
                    <a:pt x="818" y="185"/>
                  </a:cubicBezTo>
                  <a:cubicBezTo>
                    <a:pt x="819" y="182"/>
                    <a:pt x="822" y="183"/>
                    <a:pt x="825" y="181"/>
                  </a:cubicBezTo>
                  <a:cubicBezTo>
                    <a:pt x="821" y="181"/>
                    <a:pt x="819" y="180"/>
                    <a:pt x="819" y="178"/>
                  </a:cubicBezTo>
                  <a:cubicBezTo>
                    <a:pt x="821" y="177"/>
                    <a:pt x="824" y="177"/>
                    <a:pt x="826" y="176"/>
                  </a:cubicBezTo>
                  <a:cubicBezTo>
                    <a:pt x="823" y="177"/>
                    <a:pt x="821" y="175"/>
                    <a:pt x="817" y="175"/>
                  </a:cubicBezTo>
                  <a:cubicBezTo>
                    <a:pt x="820" y="174"/>
                    <a:pt x="823" y="174"/>
                    <a:pt x="826" y="173"/>
                  </a:cubicBezTo>
                  <a:cubicBezTo>
                    <a:pt x="823" y="173"/>
                    <a:pt x="821" y="173"/>
                    <a:pt x="819" y="174"/>
                  </a:cubicBezTo>
                  <a:cubicBezTo>
                    <a:pt x="822" y="172"/>
                    <a:pt x="826" y="171"/>
                    <a:pt x="830" y="170"/>
                  </a:cubicBezTo>
                  <a:cubicBezTo>
                    <a:pt x="825" y="171"/>
                    <a:pt x="820" y="171"/>
                    <a:pt x="817" y="170"/>
                  </a:cubicBezTo>
                  <a:cubicBezTo>
                    <a:pt x="819" y="170"/>
                    <a:pt x="821" y="170"/>
                    <a:pt x="824" y="170"/>
                  </a:cubicBezTo>
                  <a:cubicBezTo>
                    <a:pt x="818" y="168"/>
                    <a:pt x="824" y="168"/>
                    <a:pt x="826" y="168"/>
                  </a:cubicBezTo>
                  <a:cubicBezTo>
                    <a:pt x="824" y="167"/>
                    <a:pt x="821" y="166"/>
                    <a:pt x="819" y="166"/>
                  </a:cubicBezTo>
                  <a:cubicBezTo>
                    <a:pt x="822" y="166"/>
                    <a:pt x="824" y="165"/>
                    <a:pt x="827" y="164"/>
                  </a:cubicBezTo>
                  <a:cubicBezTo>
                    <a:pt x="825" y="164"/>
                    <a:pt x="822" y="164"/>
                    <a:pt x="820" y="164"/>
                  </a:cubicBezTo>
                  <a:cubicBezTo>
                    <a:pt x="826" y="160"/>
                    <a:pt x="833" y="161"/>
                    <a:pt x="840" y="162"/>
                  </a:cubicBezTo>
                  <a:cubicBezTo>
                    <a:pt x="839" y="162"/>
                    <a:pt x="839" y="162"/>
                    <a:pt x="839" y="162"/>
                  </a:cubicBezTo>
                  <a:cubicBezTo>
                    <a:pt x="839" y="162"/>
                    <a:pt x="844" y="161"/>
                    <a:pt x="844" y="161"/>
                  </a:cubicBezTo>
                  <a:cubicBezTo>
                    <a:pt x="838" y="160"/>
                    <a:pt x="831" y="161"/>
                    <a:pt x="824" y="161"/>
                  </a:cubicBezTo>
                  <a:cubicBezTo>
                    <a:pt x="827" y="158"/>
                    <a:pt x="829" y="159"/>
                    <a:pt x="833" y="159"/>
                  </a:cubicBezTo>
                  <a:cubicBezTo>
                    <a:pt x="832" y="158"/>
                    <a:pt x="830" y="158"/>
                    <a:pt x="829" y="157"/>
                  </a:cubicBezTo>
                  <a:cubicBezTo>
                    <a:pt x="832" y="158"/>
                    <a:pt x="836" y="158"/>
                    <a:pt x="843" y="159"/>
                  </a:cubicBezTo>
                  <a:cubicBezTo>
                    <a:pt x="841" y="156"/>
                    <a:pt x="842" y="158"/>
                    <a:pt x="839" y="155"/>
                  </a:cubicBezTo>
                  <a:cubicBezTo>
                    <a:pt x="838" y="155"/>
                    <a:pt x="835" y="157"/>
                    <a:pt x="832" y="155"/>
                  </a:cubicBezTo>
                  <a:cubicBezTo>
                    <a:pt x="841" y="154"/>
                    <a:pt x="845" y="152"/>
                    <a:pt x="852" y="150"/>
                  </a:cubicBezTo>
                  <a:cubicBezTo>
                    <a:pt x="850" y="150"/>
                    <a:pt x="849" y="150"/>
                    <a:pt x="847" y="149"/>
                  </a:cubicBezTo>
                  <a:cubicBezTo>
                    <a:pt x="850" y="148"/>
                    <a:pt x="852" y="146"/>
                    <a:pt x="855" y="145"/>
                  </a:cubicBezTo>
                  <a:cubicBezTo>
                    <a:pt x="848" y="143"/>
                    <a:pt x="839" y="142"/>
                    <a:pt x="834" y="137"/>
                  </a:cubicBezTo>
                  <a:cubicBezTo>
                    <a:pt x="841" y="135"/>
                    <a:pt x="848" y="137"/>
                    <a:pt x="854" y="141"/>
                  </a:cubicBezTo>
                  <a:cubicBezTo>
                    <a:pt x="857" y="140"/>
                    <a:pt x="853" y="140"/>
                    <a:pt x="852" y="139"/>
                  </a:cubicBezTo>
                  <a:cubicBezTo>
                    <a:pt x="854" y="139"/>
                    <a:pt x="854" y="139"/>
                    <a:pt x="852" y="138"/>
                  </a:cubicBezTo>
                  <a:cubicBezTo>
                    <a:pt x="853" y="136"/>
                    <a:pt x="854" y="137"/>
                    <a:pt x="851" y="136"/>
                  </a:cubicBezTo>
                  <a:cubicBezTo>
                    <a:pt x="853" y="135"/>
                    <a:pt x="853" y="135"/>
                    <a:pt x="855" y="136"/>
                  </a:cubicBezTo>
                  <a:cubicBezTo>
                    <a:pt x="855" y="133"/>
                    <a:pt x="853" y="134"/>
                    <a:pt x="851" y="134"/>
                  </a:cubicBezTo>
                  <a:cubicBezTo>
                    <a:pt x="853" y="134"/>
                    <a:pt x="855" y="134"/>
                    <a:pt x="854" y="133"/>
                  </a:cubicBezTo>
                  <a:cubicBezTo>
                    <a:pt x="853" y="133"/>
                    <a:pt x="851" y="133"/>
                    <a:pt x="849" y="134"/>
                  </a:cubicBezTo>
                  <a:cubicBezTo>
                    <a:pt x="850" y="132"/>
                    <a:pt x="852" y="132"/>
                    <a:pt x="854" y="132"/>
                  </a:cubicBezTo>
                  <a:cubicBezTo>
                    <a:pt x="853" y="132"/>
                    <a:pt x="850" y="131"/>
                    <a:pt x="849" y="132"/>
                  </a:cubicBezTo>
                  <a:cubicBezTo>
                    <a:pt x="851" y="130"/>
                    <a:pt x="854" y="130"/>
                    <a:pt x="856" y="129"/>
                  </a:cubicBezTo>
                  <a:cubicBezTo>
                    <a:pt x="852" y="130"/>
                    <a:pt x="848" y="130"/>
                    <a:pt x="853" y="126"/>
                  </a:cubicBezTo>
                  <a:cubicBezTo>
                    <a:pt x="851" y="127"/>
                    <a:pt x="850" y="127"/>
                    <a:pt x="848" y="128"/>
                  </a:cubicBezTo>
                  <a:cubicBezTo>
                    <a:pt x="848" y="127"/>
                    <a:pt x="848" y="125"/>
                    <a:pt x="848" y="124"/>
                  </a:cubicBezTo>
                  <a:cubicBezTo>
                    <a:pt x="846" y="130"/>
                    <a:pt x="841" y="132"/>
                    <a:pt x="834" y="129"/>
                  </a:cubicBezTo>
                  <a:cubicBezTo>
                    <a:pt x="837" y="127"/>
                    <a:pt x="841" y="126"/>
                    <a:pt x="845" y="125"/>
                  </a:cubicBezTo>
                  <a:cubicBezTo>
                    <a:pt x="841" y="125"/>
                    <a:pt x="840" y="126"/>
                    <a:pt x="837" y="126"/>
                  </a:cubicBezTo>
                  <a:cubicBezTo>
                    <a:pt x="838" y="125"/>
                    <a:pt x="840" y="123"/>
                    <a:pt x="840" y="123"/>
                  </a:cubicBezTo>
                  <a:cubicBezTo>
                    <a:pt x="840" y="123"/>
                    <a:pt x="836" y="125"/>
                    <a:pt x="836" y="124"/>
                  </a:cubicBezTo>
                  <a:cubicBezTo>
                    <a:pt x="847" y="122"/>
                    <a:pt x="847" y="114"/>
                    <a:pt x="848" y="105"/>
                  </a:cubicBezTo>
                  <a:cubicBezTo>
                    <a:pt x="847" y="106"/>
                    <a:pt x="845" y="106"/>
                    <a:pt x="844" y="105"/>
                  </a:cubicBezTo>
                  <a:cubicBezTo>
                    <a:pt x="845" y="105"/>
                    <a:pt x="847" y="104"/>
                    <a:pt x="849" y="104"/>
                  </a:cubicBezTo>
                  <a:cubicBezTo>
                    <a:pt x="841" y="93"/>
                    <a:pt x="849" y="92"/>
                    <a:pt x="833" y="85"/>
                  </a:cubicBezTo>
                  <a:cubicBezTo>
                    <a:pt x="824" y="81"/>
                    <a:pt x="816" y="86"/>
                    <a:pt x="814" y="83"/>
                  </a:cubicBezTo>
                  <a:cubicBezTo>
                    <a:pt x="807" y="85"/>
                    <a:pt x="802" y="85"/>
                    <a:pt x="795" y="80"/>
                  </a:cubicBezTo>
                  <a:cubicBezTo>
                    <a:pt x="797" y="79"/>
                    <a:pt x="800" y="78"/>
                    <a:pt x="803" y="78"/>
                  </a:cubicBezTo>
                  <a:cubicBezTo>
                    <a:pt x="795" y="76"/>
                    <a:pt x="801" y="74"/>
                    <a:pt x="800" y="73"/>
                  </a:cubicBezTo>
                  <a:cubicBezTo>
                    <a:pt x="798" y="73"/>
                    <a:pt x="797" y="75"/>
                    <a:pt x="794" y="75"/>
                  </a:cubicBezTo>
                  <a:cubicBezTo>
                    <a:pt x="794" y="74"/>
                    <a:pt x="794" y="72"/>
                    <a:pt x="794" y="72"/>
                  </a:cubicBezTo>
                  <a:cubicBezTo>
                    <a:pt x="802" y="70"/>
                    <a:pt x="810" y="72"/>
                    <a:pt x="818" y="73"/>
                  </a:cubicBezTo>
                  <a:cubicBezTo>
                    <a:pt x="814" y="72"/>
                    <a:pt x="811" y="71"/>
                    <a:pt x="807" y="70"/>
                  </a:cubicBezTo>
                  <a:cubicBezTo>
                    <a:pt x="813" y="71"/>
                    <a:pt x="819" y="70"/>
                    <a:pt x="822" y="69"/>
                  </a:cubicBezTo>
                  <a:cubicBezTo>
                    <a:pt x="816" y="68"/>
                    <a:pt x="802" y="70"/>
                    <a:pt x="808" y="66"/>
                  </a:cubicBezTo>
                  <a:cubicBezTo>
                    <a:pt x="807" y="66"/>
                    <a:pt x="805" y="66"/>
                    <a:pt x="804" y="66"/>
                  </a:cubicBezTo>
                  <a:cubicBezTo>
                    <a:pt x="805" y="66"/>
                    <a:pt x="806" y="65"/>
                    <a:pt x="808" y="64"/>
                  </a:cubicBezTo>
                  <a:cubicBezTo>
                    <a:pt x="802" y="64"/>
                    <a:pt x="800" y="65"/>
                    <a:pt x="797" y="60"/>
                  </a:cubicBezTo>
                  <a:cubicBezTo>
                    <a:pt x="806" y="54"/>
                    <a:pt x="821" y="55"/>
                    <a:pt x="832" y="53"/>
                  </a:cubicBezTo>
                  <a:cubicBezTo>
                    <a:pt x="844" y="52"/>
                    <a:pt x="850" y="50"/>
                    <a:pt x="859" y="46"/>
                  </a:cubicBezTo>
                  <a:cubicBezTo>
                    <a:pt x="858" y="47"/>
                    <a:pt x="857" y="46"/>
                    <a:pt x="856" y="46"/>
                  </a:cubicBezTo>
                  <a:cubicBezTo>
                    <a:pt x="858" y="45"/>
                    <a:pt x="861" y="44"/>
                    <a:pt x="862" y="43"/>
                  </a:cubicBezTo>
                  <a:cubicBezTo>
                    <a:pt x="856" y="45"/>
                    <a:pt x="854" y="43"/>
                    <a:pt x="848" y="42"/>
                  </a:cubicBezTo>
                  <a:cubicBezTo>
                    <a:pt x="856" y="38"/>
                    <a:pt x="870" y="31"/>
                    <a:pt x="871" y="38"/>
                  </a:cubicBezTo>
                  <a:cubicBezTo>
                    <a:pt x="877" y="32"/>
                    <a:pt x="896" y="23"/>
                    <a:pt x="900" y="33"/>
                  </a:cubicBezTo>
                  <a:cubicBezTo>
                    <a:pt x="900" y="30"/>
                    <a:pt x="900" y="28"/>
                    <a:pt x="900" y="25"/>
                  </a:cubicBezTo>
                  <a:cubicBezTo>
                    <a:pt x="906" y="24"/>
                    <a:pt x="914" y="24"/>
                    <a:pt x="918" y="26"/>
                  </a:cubicBezTo>
                  <a:cubicBezTo>
                    <a:pt x="920" y="24"/>
                    <a:pt x="920" y="24"/>
                    <a:pt x="924" y="25"/>
                  </a:cubicBezTo>
                  <a:cubicBezTo>
                    <a:pt x="925" y="24"/>
                    <a:pt x="925" y="23"/>
                    <a:pt x="930" y="22"/>
                  </a:cubicBezTo>
                  <a:cubicBezTo>
                    <a:pt x="927" y="27"/>
                    <a:pt x="925" y="31"/>
                    <a:pt x="920" y="35"/>
                  </a:cubicBezTo>
                  <a:cubicBezTo>
                    <a:pt x="925" y="30"/>
                    <a:pt x="932" y="32"/>
                    <a:pt x="933" y="32"/>
                  </a:cubicBezTo>
                  <a:cubicBezTo>
                    <a:pt x="931" y="33"/>
                    <a:pt x="951" y="27"/>
                    <a:pt x="944" y="26"/>
                  </a:cubicBezTo>
                  <a:cubicBezTo>
                    <a:pt x="953" y="27"/>
                    <a:pt x="953" y="32"/>
                    <a:pt x="959" y="35"/>
                  </a:cubicBezTo>
                  <a:cubicBezTo>
                    <a:pt x="961" y="37"/>
                    <a:pt x="964" y="37"/>
                    <a:pt x="970" y="37"/>
                  </a:cubicBezTo>
                  <a:cubicBezTo>
                    <a:pt x="965" y="33"/>
                    <a:pt x="962" y="28"/>
                    <a:pt x="962" y="22"/>
                  </a:cubicBezTo>
                  <a:cubicBezTo>
                    <a:pt x="977" y="24"/>
                    <a:pt x="978" y="22"/>
                    <a:pt x="990" y="30"/>
                  </a:cubicBezTo>
                  <a:cubicBezTo>
                    <a:pt x="987" y="26"/>
                    <a:pt x="978" y="19"/>
                    <a:pt x="978" y="19"/>
                  </a:cubicBezTo>
                  <a:cubicBezTo>
                    <a:pt x="976" y="16"/>
                    <a:pt x="981" y="15"/>
                    <a:pt x="987" y="15"/>
                  </a:cubicBezTo>
                  <a:cubicBezTo>
                    <a:pt x="988" y="16"/>
                    <a:pt x="991" y="18"/>
                    <a:pt x="994" y="21"/>
                  </a:cubicBezTo>
                  <a:cubicBezTo>
                    <a:pt x="994" y="22"/>
                    <a:pt x="995" y="19"/>
                    <a:pt x="995" y="18"/>
                  </a:cubicBezTo>
                  <a:cubicBezTo>
                    <a:pt x="997" y="19"/>
                    <a:pt x="1000" y="20"/>
                    <a:pt x="1002" y="20"/>
                  </a:cubicBezTo>
                  <a:cubicBezTo>
                    <a:pt x="1000" y="18"/>
                    <a:pt x="998" y="20"/>
                    <a:pt x="999" y="16"/>
                  </a:cubicBezTo>
                  <a:cubicBezTo>
                    <a:pt x="1013" y="12"/>
                    <a:pt x="1035" y="10"/>
                    <a:pt x="1055" y="18"/>
                  </a:cubicBezTo>
                  <a:cubicBezTo>
                    <a:pt x="1045" y="21"/>
                    <a:pt x="1030" y="20"/>
                    <a:pt x="1021" y="18"/>
                  </a:cubicBezTo>
                  <a:cubicBezTo>
                    <a:pt x="1021" y="18"/>
                    <a:pt x="1010" y="22"/>
                    <a:pt x="1007" y="23"/>
                  </a:cubicBezTo>
                  <a:cubicBezTo>
                    <a:pt x="1020" y="19"/>
                    <a:pt x="1042" y="21"/>
                    <a:pt x="1059" y="21"/>
                  </a:cubicBezTo>
                  <a:cubicBezTo>
                    <a:pt x="1057" y="26"/>
                    <a:pt x="1055" y="23"/>
                    <a:pt x="1052" y="23"/>
                  </a:cubicBezTo>
                  <a:cubicBezTo>
                    <a:pt x="1052" y="24"/>
                    <a:pt x="1052" y="24"/>
                    <a:pt x="1052" y="25"/>
                  </a:cubicBezTo>
                  <a:cubicBezTo>
                    <a:pt x="1060" y="25"/>
                    <a:pt x="1069" y="25"/>
                    <a:pt x="1075" y="30"/>
                  </a:cubicBezTo>
                  <a:cubicBezTo>
                    <a:pt x="1056" y="40"/>
                    <a:pt x="1030" y="31"/>
                    <a:pt x="1010" y="37"/>
                  </a:cubicBezTo>
                  <a:cubicBezTo>
                    <a:pt x="1010" y="38"/>
                    <a:pt x="1011" y="39"/>
                    <a:pt x="1012" y="39"/>
                  </a:cubicBezTo>
                  <a:cubicBezTo>
                    <a:pt x="1025" y="35"/>
                    <a:pt x="1036" y="35"/>
                    <a:pt x="1050" y="36"/>
                  </a:cubicBezTo>
                  <a:cubicBezTo>
                    <a:pt x="1047" y="37"/>
                    <a:pt x="1043" y="40"/>
                    <a:pt x="1040" y="41"/>
                  </a:cubicBezTo>
                  <a:cubicBezTo>
                    <a:pt x="1051" y="42"/>
                    <a:pt x="1057" y="37"/>
                    <a:pt x="1067" y="37"/>
                  </a:cubicBezTo>
                  <a:cubicBezTo>
                    <a:pt x="1062" y="46"/>
                    <a:pt x="1045" y="49"/>
                    <a:pt x="1037" y="54"/>
                  </a:cubicBezTo>
                  <a:cubicBezTo>
                    <a:pt x="1055" y="45"/>
                    <a:pt x="1091" y="32"/>
                    <a:pt x="1107" y="46"/>
                  </a:cubicBezTo>
                  <a:cubicBezTo>
                    <a:pt x="1092" y="51"/>
                    <a:pt x="1085" y="52"/>
                    <a:pt x="1066" y="54"/>
                  </a:cubicBezTo>
                  <a:cubicBezTo>
                    <a:pt x="1073" y="54"/>
                    <a:pt x="1080" y="54"/>
                    <a:pt x="1086" y="56"/>
                  </a:cubicBezTo>
                  <a:cubicBezTo>
                    <a:pt x="1081" y="58"/>
                    <a:pt x="1076" y="58"/>
                    <a:pt x="1070" y="58"/>
                  </a:cubicBezTo>
                  <a:cubicBezTo>
                    <a:pt x="1069" y="60"/>
                    <a:pt x="1067" y="59"/>
                    <a:pt x="1067" y="59"/>
                  </a:cubicBezTo>
                  <a:cubicBezTo>
                    <a:pt x="1067" y="59"/>
                    <a:pt x="1067" y="58"/>
                    <a:pt x="1068" y="58"/>
                  </a:cubicBezTo>
                  <a:cubicBezTo>
                    <a:pt x="1066" y="58"/>
                    <a:pt x="1065" y="58"/>
                    <a:pt x="1064" y="59"/>
                  </a:cubicBezTo>
                  <a:cubicBezTo>
                    <a:pt x="1064" y="60"/>
                    <a:pt x="1064" y="61"/>
                    <a:pt x="1065" y="61"/>
                  </a:cubicBezTo>
                  <a:cubicBezTo>
                    <a:pt x="1070" y="60"/>
                    <a:pt x="1074" y="60"/>
                    <a:pt x="1079" y="60"/>
                  </a:cubicBezTo>
                  <a:cubicBezTo>
                    <a:pt x="1066" y="66"/>
                    <a:pt x="1064" y="80"/>
                    <a:pt x="1054" y="81"/>
                  </a:cubicBezTo>
                  <a:cubicBezTo>
                    <a:pt x="1056" y="83"/>
                    <a:pt x="1059" y="84"/>
                    <a:pt x="1061" y="85"/>
                  </a:cubicBezTo>
                  <a:cubicBezTo>
                    <a:pt x="1058" y="85"/>
                    <a:pt x="1058" y="86"/>
                    <a:pt x="1055" y="86"/>
                  </a:cubicBezTo>
                  <a:cubicBezTo>
                    <a:pt x="1073" y="90"/>
                    <a:pt x="1058" y="94"/>
                    <a:pt x="1048" y="91"/>
                  </a:cubicBezTo>
                  <a:cubicBezTo>
                    <a:pt x="1047" y="92"/>
                    <a:pt x="1044" y="95"/>
                    <a:pt x="1042" y="96"/>
                  </a:cubicBezTo>
                  <a:cubicBezTo>
                    <a:pt x="1045" y="97"/>
                    <a:pt x="1048" y="98"/>
                    <a:pt x="1053" y="99"/>
                  </a:cubicBezTo>
                  <a:cubicBezTo>
                    <a:pt x="1050" y="99"/>
                    <a:pt x="1047" y="99"/>
                    <a:pt x="1044" y="100"/>
                  </a:cubicBezTo>
                  <a:cubicBezTo>
                    <a:pt x="1048" y="100"/>
                    <a:pt x="1051" y="100"/>
                    <a:pt x="1054" y="102"/>
                  </a:cubicBezTo>
                  <a:cubicBezTo>
                    <a:pt x="1051" y="110"/>
                    <a:pt x="1046" y="108"/>
                    <a:pt x="1041" y="102"/>
                  </a:cubicBezTo>
                  <a:cubicBezTo>
                    <a:pt x="1040" y="103"/>
                    <a:pt x="1040" y="104"/>
                    <a:pt x="1040" y="104"/>
                  </a:cubicBezTo>
                  <a:cubicBezTo>
                    <a:pt x="1042" y="105"/>
                    <a:pt x="1044" y="106"/>
                    <a:pt x="1047" y="107"/>
                  </a:cubicBezTo>
                  <a:cubicBezTo>
                    <a:pt x="1043" y="108"/>
                    <a:pt x="1040" y="108"/>
                    <a:pt x="1038" y="107"/>
                  </a:cubicBezTo>
                  <a:cubicBezTo>
                    <a:pt x="1043" y="110"/>
                    <a:pt x="1045" y="110"/>
                    <a:pt x="1052" y="112"/>
                  </a:cubicBezTo>
                  <a:cubicBezTo>
                    <a:pt x="1047" y="116"/>
                    <a:pt x="1035" y="109"/>
                    <a:pt x="1036" y="119"/>
                  </a:cubicBezTo>
                  <a:cubicBezTo>
                    <a:pt x="1038" y="119"/>
                    <a:pt x="1038" y="116"/>
                    <a:pt x="1043" y="118"/>
                  </a:cubicBezTo>
                  <a:cubicBezTo>
                    <a:pt x="1040" y="125"/>
                    <a:pt x="1030" y="125"/>
                    <a:pt x="1023" y="120"/>
                  </a:cubicBezTo>
                  <a:cubicBezTo>
                    <a:pt x="1026" y="120"/>
                    <a:pt x="1029" y="121"/>
                    <a:pt x="1032" y="121"/>
                  </a:cubicBezTo>
                  <a:cubicBezTo>
                    <a:pt x="1025" y="120"/>
                    <a:pt x="1021" y="119"/>
                    <a:pt x="1015" y="118"/>
                  </a:cubicBezTo>
                  <a:cubicBezTo>
                    <a:pt x="1017" y="124"/>
                    <a:pt x="1011" y="123"/>
                    <a:pt x="1004" y="121"/>
                  </a:cubicBezTo>
                  <a:cubicBezTo>
                    <a:pt x="1009" y="123"/>
                    <a:pt x="1006" y="123"/>
                    <a:pt x="1002" y="123"/>
                  </a:cubicBezTo>
                  <a:cubicBezTo>
                    <a:pt x="1006" y="123"/>
                    <a:pt x="1011" y="124"/>
                    <a:pt x="1016" y="124"/>
                  </a:cubicBezTo>
                  <a:cubicBezTo>
                    <a:pt x="1012" y="126"/>
                    <a:pt x="1007" y="127"/>
                    <a:pt x="1004" y="127"/>
                  </a:cubicBezTo>
                  <a:cubicBezTo>
                    <a:pt x="1009" y="127"/>
                    <a:pt x="1012" y="126"/>
                    <a:pt x="1016" y="129"/>
                  </a:cubicBezTo>
                  <a:cubicBezTo>
                    <a:pt x="1014" y="130"/>
                    <a:pt x="1012" y="130"/>
                    <a:pt x="1010" y="130"/>
                  </a:cubicBezTo>
                  <a:cubicBezTo>
                    <a:pt x="1016" y="130"/>
                    <a:pt x="1022" y="132"/>
                    <a:pt x="1025" y="137"/>
                  </a:cubicBezTo>
                  <a:cubicBezTo>
                    <a:pt x="1027" y="138"/>
                    <a:pt x="1029" y="137"/>
                    <a:pt x="1026" y="141"/>
                  </a:cubicBezTo>
                  <a:cubicBezTo>
                    <a:pt x="1028" y="140"/>
                    <a:pt x="1028" y="139"/>
                    <a:pt x="1030" y="139"/>
                  </a:cubicBezTo>
                  <a:cubicBezTo>
                    <a:pt x="1030" y="141"/>
                    <a:pt x="1029" y="140"/>
                    <a:pt x="1028" y="142"/>
                  </a:cubicBezTo>
                  <a:cubicBezTo>
                    <a:pt x="1028" y="143"/>
                    <a:pt x="1030" y="144"/>
                    <a:pt x="1029" y="146"/>
                  </a:cubicBezTo>
                  <a:cubicBezTo>
                    <a:pt x="1025" y="146"/>
                    <a:pt x="1026" y="145"/>
                    <a:pt x="1025" y="144"/>
                  </a:cubicBezTo>
                  <a:cubicBezTo>
                    <a:pt x="1021" y="147"/>
                    <a:pt x="1014" y="144"/>
                    <a:pt x="1008" y="140"/>
                  </a:cubicBezTo>
                  <a:cubicBezTo>
                    <a:pt x="1002" y="142"/>
                    <a:pt x="996" y="143"/>
                    <a:pt x="991" y="142"/>
                  </a:cubicBezTo>
                  <a:cubicBezTo>
                    <a:pt x="991" y="144"/>
                    <a:pt x="987" y="146"/>
                    <a:pt x="983" y="146"/>
                  </a:cubicBezTo>
                  <a:cubicBezTo>
                    <a:pt x="988" y="146"/>
                    <a:pt x="995" y="147"/>
                    <a:pt x="999" y="148"/>
                  </a:cubicBezTo>
                  <a:cubicBezTo>
                    <a:pt x="995" y="148"/>
                    <a:pt x="991" y="149"/>
                    <a:pt x="988" y="149"/>
                  </a:cubicBezTo>
                  <a:cubicBezTo>
                    <a:pt x="1000" y="149"/>
                    <a:pt x="1012" y="149"/>
                    <a:pt x="1025" y="149"/>
                  </a:cubicBezTo>
                  <a:cubicBezTo>
                    <a:pt x="1016" y="152"/>
                    <a:pt x="1008" y="156"/>
                    <a:pt x="999" y="159"/>
                  </a:cubicBezTo>
                  <a:close/>
                  <a:moveTo>
                    <a:pt x="994" y="135"/>
                  </a:moveTo>
                  <a:cubicBezTo>
                    <a:pt x="995" y="135"/>
                    <a:pt x="997" y="136"/>
                    <a:pt x="997" y="137"/>
                  </a:cubicBezTo>
                  <a:cubicBezTo>
                    <a:pt x="997" y="137"/>
                    <a:pt x="996" y="137"/>
                    <a:pt x="994" y="137"/>
                  </a:cubicBezTo>
                  <a:cubicBezTo>
                    <a:pt x="999" y="137"/>
                    <a:pt x="1004" y="138"/>
                    <a:pt x="1008" y="140"/>
                  </a:cubicBezTo>
                  <a:cubicBezTo>
                    <a:pt x="1004" y="138"/>
                    <a:pt x="1000" y="135"/>
                    <a:pt x="997" y="134"/>
                  </a:cubicBezTo>
                  <a:cubicBezTo>
                    <a:pt x="996" y="134"/>
                    <a:pt x="995" y="135"/>
                    <a:pt x="994" y="135"/>
                  </a:cubicBezTo>
                  <a:close/>
                  <a:moveTo>
                    <a:pt x="1068" y="185"/>
                  </a:moveTo>
                  <a:cubicBezTo>
                    <a:pt x="1068" y="184"/>
                    <a:pt x="1066" y="184"/>
                    <a:pt x="1064" y="185"/>
                  </a:cubicBezTo>
                  <a:cubicBezTo>
                    <a:pt x="1064" y="185"/>
                    <a:pt x="1064" y="183"/>
                    <a:pt x="1062" y="183"/>
                  </a:cubicBezTo>
                  <a:cubicBezTo>
                    <a:pt x="1063" y="182"/>
                    <a:pt x="1064" y="180"/>
                    <a:pt x="1064" y="181"/>
                  </a:cubicBezTo>
                  <a:cubicBezTo>
                    <a:pt x="1063" y="181"/>
                    <a:pt x="1062" y="181"/>
                    <a:pt x="1061" y="181"/>
                  </a:cubicBezTo>
                  <a:cubicBezTo>
                    <a:pt x="1061" y="178"/>
                    <a:pt x="1062" y="180"/>
                    <a:pt x="1064" y="178"/>
                  </a:cubicBezTo>
                  <a:cubicBezTo>
                    <a:pt x="1054" y="178"/>
                    <a:pt x="1051" y="181"/>
                    <a:pt x="1040" y="180"/>
                  </a:cubicBezTo>
                  <a:cubicBezTo>
                    <a:pt x="1041" y="182"/>
                    <a:pt x="1040" y="182"/>
                    <a:pt x="1039" y="184"/>
                  </a:cubicBezTo>
                  <a:cubicBezTo>
                    <a:pt x="1036" y="180"/>
                    <a:pt x="1036" y="178"/>
                    <a:pt x="1031" y="183"/>
                  </a:cubicBezTo>
                  <a:cubicBezTo>
                    <a:pt x="1030" y="182"/>
                    <a:pt x="1030" y="180"/>
                    <a:pt x="1028" y="179"/>
                  </a:cubicBezTo>
                  <a:cubicBezTo>
                    <a:pt x="1026" y="184"/>
                    <a:pt x="1025" y="183"/>
                    <a:pt x="1021" y="186"/>
                  </a:cubicBezTo>
                  <a:cubicBezTo>
                    <a:pt x="1019" y="183"/>
                    <a:pt x="1020" y="185"/>
                    <a:pt x="1019" y="183"/>
                  </a:cubicBezTo>
                  <a:cubicBezTo>
                    <a:pt x="1020" y="183"/>
                    <a:pt x="1020" y="182"/>
                    <a:pt x="1019" y="182"/>
                  </a:cubicBezTo>
                  <a:cubicBezTo>
                    <a:pt x="1021" y="182"/>
                    <a:pt x="1022" y="182"/>
                    <a:pt x="1019" y="181"/>
                  </a:cubicBezTo>
                  <a:cubicBezTo>
                    <a:pt x="1019" y="180"/>
                    <a:pt x="1017" y="179"/>
                    <a:pt x="1015" y="178"/>
                  </a:cubicBezTo>
                  <a:cubicBezTo>
                    <a:pt x="1015" y="179"/>
                    <a:pt x="1011" y="178"/>
                    <a:pt x="1012" y="178"/>
                  </a:cubicBezTo>
                  <a:cubicBezTo>
                    <a:pt x="1012" y="178"/>
                    <a:pt x="1015" y="181"/>
                    <a:pt x="1015" y="181"/>
                  </a:cubicBezTo>
                  <a:cubicBezTo>
                    <a:pt x="1008" y="178"/>
                    <a:pt x="1008" y="179"/>
                    <a:pt x="1008" y="181"/>
                  </a:cubicBezTo>
                  <a:cubicBezTo>
                    <a:pt x="1005" y="181"/>
                    <a:pt x="1004" y="181"/>
                    <a:pt x="1008" y="182"/>
                  </a:cubicBezTo>
                  <a:cubicBezTo>
                    <a:pt x="1006" y="182"/>
                    <a:pt x="1005" y="183"/>
                    <a:pt x="1002" y="182"/>
                  </a:cubicBezTo>
                  <a:cubicBezTo>
                    <a:pt x="1003" y="182"/>
                    <a:pt x="1003" y="183"/>
                    <a:pt x="1004" y="183"/>
                  </a:cubicBezTo>
                  <a:cubicBezTo>
                    <a:pt x="1002" y="183"/>
                    <a:pt x="1002" y="183"/>
                    <a:pt x="1000" y="183"/>
                  </a:cubicBezTo>
                  <a:cubicBezTo>
                    <a:pt x="1006" y="184"/>
                    <a:pt x="1010" y="184"/>
                    <a:pt x="1015" y="183"/>
                  </a:cubicBezTo>
                  <a:cubicBezTo>
                    <a:pt x="1014" y="185"/>
                    <a:pt x="1016" y="184"/>
                    <a:pt x="1018" y="185"/>
                  </a:cubicBezTo>
                  <a:cubicBezTo>
                    <a:pt x="1016" y="185"/>
                    <a:pt x="1013" y="185"/>
                    <a:pt x="1011" y="186"/>
                  </a:cubicBezTo>
                  <a:cubicBezTo>
                    <a:pt x="1014" y="186"/>
                    <a:pt x="1015" y="186"/>
                    <a:pt x="1017" y="186"/>
                  </a:cubicBezTo>
                  <a:cubicBezTo>
                    <a:pt x="1011" y="187"/>
                    <a:pt x="1007" y="187"/>
                    <a:pt x="1001" y="187"/>
                  </a:cubicBezTo>
                  <a:cubicBezTo>
                    <a:pt x="1004" y="189"/>
                    <a:pt x="1007" y="190"/>
                    <a:pt x="1011" y="189"/>
                  </a:cubicBezTo>
                  <a:cubicBezTo>
                    <a:pt x="1009" y="192"/>
                    <a:pt x="1012" y="190"/>
                    <a:pt x="1015" y="190"/>
                  </a:cubicBezTo>
                  <a:cubicBezTo>
                    <a:pt x="1010" y="193"/>
                    <a:pt x="1015" y="193"/>
                    <a:pt x="1018" y="192"/>
                  </a:cubicBezTo>
                  <a:cubicBezTo>
                    <a:pt x="1013" y="193"/>
                    <a:pt x="1009" y="194"/>
                    <a:pt x="1008" y="195"/>
                  </a:cubicBezTo>
                  <a:cubicBezTo>
                    <a:pt x="1015" y="196"/>
                    <a:pt x="1033" y="202"/>
                    <a:pt x="1042" y="196"/>
                  </a:cubicBezTo>
                  <a:cubicBezTo>
                    <a:pt x="1049" y="197"/>
                    <a:pt x="1062" y="191"/>
                    <a:pt x="1067" y="189"/>
                  </a:cubicBezTo>
                  <a:cubicBezTo>
                    <a:pt x="1063" y="186"/>
                    <a:pt x="1067" y="187"/>
                    <a:pt x="1068" y="185"/>
                  </a:cubicBezTo>
                  <a:close/>
                  <a:moveTo>
                    <a:pt x="2212" y="603"/>
                  </a:moveTo>
                  <a:cubicBezTo>
                    <a:pt x="2212" y="603"/>
                    <a:pt x="2213" y="603"/>
                    <a:pt x="2214" y="603"/>
                  </a:cubicBezTo>
                  <a:cubicBezTo>
                    <a:pt x="2221" y="602"/>
                    <a:pt x="2215" y="602"/>
                    <a:pt x="2215" y="602"/>
                  </a:cubicBezTo>
                  <a:cubicBezTo>
                    <a:pt x="2211" y="602"/>
                    <a:pt x="2209" y="601"/>
                    <a:pt x="2206" y="602"/>
                  </a:cubicBezTo>
                  <a:cubicBezTo>
                    <a:pt x="2207" y="602"/>
                    <a:pt x="2208" y="602"/>
                    <a:pt x="2208" y="602"/>
                  </a:cubicBezTo>
                  <a:cubicBezTo>
                    <a:pt x="2198" y="601"/>
                    <a:pt x="2187" y="602"/>
                    <a:pt x="2182" y="601"/>
                  </a:cubicBezTo>
                  <a:cubicBezTo>
                    <a:pt x="2166" y="600"/>
                    <a:pt x="2146" y="590"/>
                    <a:pt x="2137" y="600"/>
                  </a:cubicBezTo>
                  <a:cubicBezTo>
                    <a:pt x="2141" y="600"/>
                    <a:pt x="2145" y="602"/>
                    <a:pt x="2149" y="602"/>
                  </a:cubicBezTo>
                  <a:cubicBezTo>
                    <a:pt x="2154" y="606"/>
                    <a:pt x="2176" y="608"/>
                    <a:pt x="2186" y="609"/>
                  </a:cubicBezTo>
                  <a:cubicBezTo>
                    <a:pt x="2194" y="609"/>
                    <a:pt x="2200" y="609"/>
                    <a:pt x="2207" y="610"/>
                  </a:cubicBezTo>
                  <a:cubicBezTo>
                    <a:pt x="2214" y="611"/>
                    <a:pt x="2224" y="613"/>
                    <a:pt x="2223" y="610"/>
                  </a:cubicBezTo>
                  <a:cubicBezTo>
                    <a:pt x="2221" y="607"/>
                    <a:pt x="2217" y="604"/>
                    <a:pt x="2212" y="603"/>
                  </a:cubicBezTo>
                  <a:close/>
                  <a:moveTo>
                    <a:pt x="2140" y="594"/>
                  </a:moveTo>
                  <a:cubicBezTo>
                    <a:pt x="2135" y="578"/>
                    <a:pt x="2127" y="568"/>
                    <a:pt x="2108" y="566"/>
                  </a:cubicBezTo>
                  <a:cubicBezTo>
                    <a:pt x="2109" y="563"/>
                    <a:pt x="2110" y="566"/>
                    <a:pt x="2112" y="563"/>
                  </a:cubicBezTo>
                  <a:cubicBezTo>
                    <a:pt x="2110" y="563"/>
                    <a:pt x="2107" y="563"/>
                    <a:pt x="2105" y="563"/>
                  </a:cubicBezTo>
                  <a:cubicBezTo>
                    <a:pt x="2107" y="562"/>
                    <a:pt x="2109" y="561"/>
                    <a:pt x="2111" y="561"/>
                  </a:cubicBezTo>
                  <a:cubicBezTo>
                    <a:pt x="2106" y="557"/>
                    <a:pt x="2104" y="559"/>
                    <a:pt x="2099" y="560"/>
                  </a:cubicBezTo>
                  <a:cubicBezTo>
                    <a:pt x="2100" y="558"/>
                    <a:pt x="2103" y="560"/>
                    <a:pt x="2102" y="558"/>
                  </a:cubicBezTo>
                  <a:cubicBezTo>
                    <a:pt x="2073" y="550"/>
                    <a:pt x="2051" y="533"/>
                    <a:pt x="2020" y="528"/>
                  </a:cubicBezTo>
                  <a:cubicBezTo>
                    <a:pt x="2029" y="542"/>
                    <a:pt x="2057" y="550"/>
                    <a:pt x="2070" y="560"/>
                  </a:cubicBezTo>
                  <a:cubicBezTo>
                    <a:pt x="2088" y="574"/>
                    <a:pt x="2108" y="582"/>
                    <a:pt x="2128" y="596"/>
                  </a:cubicBezTo>
                  <a:cubicBezTo>
                    <a:pt x="2129" y="594"/>
                    <a:pt x="2127" y="594"/>
                    <a:pt x="2127" y="593"/>
                  </a:cubicBezTo>
                  <a:cubicBezTo>
                    <a:pt x="2133" y="596"/>
                    <a:pt x="2133" y="594"/>
                    <a:pt x="2136" y="593"/>
                  </a:cubicBezTo>
                  <a:cubicBezTo>
                    <a:pt x="2138" y="593"/>
                    <a:pt x="2138" y="595"/>
                    <a:pt x="2140" y="594"/>
                  </a:cubicBezTo>
                  <a:close/>
                  <a:moveTo>
                    <a:pt x="2897" y="858"/>
                  </a:moveTo>
                  <a:cubicBezTo>
                    <a:pt x="2891" y="855"/>
                    <a:pt x="2889" y="847"/>
                    <a:pt x="2882" y="844"/>
                  </a:cubicBezTo>
                  <a:cubicBezTo>
                    <a:pt x="2885" y="847"/>
                    <a:pt x="2885" y="848"/>
                    <a:pt x="2888" y="852"/>
                  </a:cubicBezTo>
                  <a:cubicBezTo>
                    <a:pt x="2874" y="849"/>
                    <a:pt x="2881" y="844"/>
                    <a:pt x="2872" y="836"/>
                  </a:cubicBezTo>
                  <a:cubicBezTo>
                    <a:pt x="2873" y="837"/>
                    <a:pt x="2874" y="837"/>
                    <a:pt x="2875" y="836"/>
                  </a:cubicBezTo>
                  <a:cubicBezTo>
                    <a:pt x="2871" y="832"/>
                    <a:pt x="2867" y="827"/>
                    <a:pt x="2866" y="827"/>
                  </a:cubicBezTo>
                  <a:cubicBezTo>
                    <a:pt x="2862" y="825"/>
                    <a:pt x="2861" y="825"/>
                    <a:pt x="2861" y="823"/>
                  </a:cubicBezTo>
                  <a:cubicBezTo>
                    <a:pt x="2858" y="822"/>
                    <a:pt x="2860" y="825"/>
                    <a:pt x="2859" y="825"/>
                  </a:cubicBezTo>
                  <a:cubicBezTo>
                    <a:pt x="2855" y="821"/>
                    <a:pt x="2854" y="821"/>
                    <a:pt x="2849" y="819"/>
                  </a:cubicBezTo>
                  <a:cubicBezTo>
                    <a:pt x="2857" y="825"/>
                    <a:pt x="2855" y="829"/>
                    <a:pt x="2863" y="831"/>
                  </a:cubicBezTo>
                  <a:cubicBezTo>
                    <a:pt x="2863" y="833"/>
                    <a:pt x="2865" y="839"/>
                    <a:pt x="2869" y="843"/>
                  </a:cubicBezTo>
                  <a:cubicBezTo>
                    <a:pt x="2869" y="843"/>
                    <a:pt x="2870" y="842"/>
                    <a:pt x="2870" y="841"/>
                  </a:cubicBezTo>
                  <a:cubicBezTo>
                    <a:pt x="2871" y="842"/>
                    <a:pt x="2871" y="842"/>
                    <a:pt x="2872" y="841"/>
                  </a:cubicBezTo>
                  <a:cubicBezTo>
                    <a:pt x="2872" y="841"/>
                    <a:pt x="2873" y="844"/>
                    <a:pt x="2873" y="845"/>
                  </a:cubicBezTo>
                  <a:cubicBezTo>
                    <a:pt x="2873" y="845"/>
                    <a:pt x="2870" y="844"/>
                    <a:pt x="2870" y="844"/>
                  </a:cubicBezTo>
                  <a:cubicBezTo>
                    <a:pt x="2879" y="849"/>
                    <a:pt x="2880" y="856"/>
                    <a:pt x="2881" y="862"/>
                  </a:cubicBezTo>
                  <a:cubicBezTo>
                    <a:pt x="2881" y="862"/>
                    <a:pt x="2881" y="867"/>
                    <a:pt x="2881" y="870"/>
                  </a:cubicBezTo>
                  <a:cubicBezTo>
                    <a:pt x="2855" y="872"/>
                    <a:pt x="2902" y="882"/>
                    <a:pt x="2883" y="897"/>
                  </a:cubicBezTo>
                  <a:cubicBezTo>
                    <a:pt x="2893" y="906"/>
                    <a:pt x="2906" y="892"/>
                    <a:pt x="2908" y="880"/>
                  </a:cubicBezTo>
                  <a:cubicBezTo>
                    <a:pt x="2906" y="878"/>
                    <a:pt x="2905" y="880"/>
                    <a:pt x="2903" y="879"/>
                  </a:cubicBezTo>
                  <a:cubicBezTo>
                    <a:pt x="2909" y="875"/>
                    <a:pt x="2912" y="873"/>
                    <a:pt x="2918" y="875"/>
                  </a:cubicBezTo>
                  <a:cubicBezTo>
                    <a:pt x="2915" y="871"/>
                    <a:pt x="2916" y="869"/>
                    <a:pt x="2918" y="863"/>
                  </a:cubicBezTo>
                  <a:cubicBezTo>
                    <a:pt x="2918" y="862"/>
                    <a:pt x="2918" y="861"/>
                    <a:pt x="2920" y="860"/>
                  </a:cubicBezTo>
                  <a:cubicBezTo>
                    <a:pt x="2912" y="856"/>
                    <a:pt x="2908" y="863"/>
                    <a:pt x="2897" y="858"/>
                  </a:cubicBezTo>
                  <a:close/>
                  <a:moveTo>
                    <a:pt x="2593" y="877"/>
                  </a:moveTo>
                  <a:cubicBezTo>
                    <a:pt x="2584" y="877"/>
                    <a:pt x="2578" y="871"/>
                    <a:pt x="2570" y="869"/>
                  </a:cubicBezTo>
                  <a:cubicBezTo>
                    <a:pt x="2571" y="876"/>
                    <a:pt x="2575" y="884"/>
                    <a:pt x="2580" y="888"/>
                  </a:cubicBezTo>
                  <a:cubicBezTo>
                    <a:pt x="2579" y="888"/>
                    <a:pt x="2577" y="888"/>
                    <a:pt x="2576" y="887"/>
                  </a:cubicBezTo>
                  <a:cubicBezTo>
                    <a:pt x="2580" y="897"/>
                    <a:pt x="2585" y="903"/>
                    <a:pt x="2595" y="904"/>
                  </a:cubicBezTo>
                  <a:cubicBezTo>
                    <a:pt x="2595" y="898"/>
                    <a:pt x="2597" y="901"/>
                    <a:pt x="2599" y="896"/>
                  </a:cubicBezTo>
                  <a:cubicBezTo>
                    <a:pt x="2600" y="897"/>
                    <a:pt x="2601" y="897"/>
                    <a:pt x="2603" y="898"/>
                  </a:cubicBezTo>
                  <a:cubicBezTo>
                    <a:pt x="2602" y="898"/>
                    <a:pt x="2602" y="898"/>
                    <a:pt x="2603" y="900"/>
                  </a:cubicBezTo>
                  <a:cubicBezTo>
                    <a:pt x="2604" y="899"/>
                    <a:pt x="2604" y="899"/>
                    <a:pt x="2605" y="898"/>
                  </a:cubicBezTo>
                  <a:cubicBezTo>
                    <a:pt x="2607" y="895"/>
                    <a:pt x="2607" y="892"/>
                    <a:pt x="2607" y="887"/>
                  </a:cubicBezTo>
                  <a:cubicBezTo>
                    <a:pt x="2611" y="893"/>
                    <a:pt x="2608" y="887"/>
                    <a:pt x="2610" y="886"/>
                  </a:cubicBezTo>
                  <a:cubicBezTo>
                    <a:pt x="2610" y="874"/>
                    <a:pt x="2603" y="871"/>
                    <a:pt x="2593" y="877"/>
                  </a:cubicBezTo>
                  <a:close/>
                  <a:moveTo>
                    <a:pt x="2877" y="897"/>
                  </a:moveTo>
                  <a:cubicBezTo>
                    <a:pt x="2878" y="895"/>
                    <a:pt x="2880" y="894"/>
                    <a:pt x="2876" y="894"/>
                  </a:cubicBezTo>
                  <a:cubicBezTo>
                    <a:pt x="2873" y="898"/>
                    <a:pt x="2878" y="894"/>
                    <a:pt x="2877" y="896"/>
                  </a:cubicBezTo>
                  <a:cubicBezTo>
                    <a:pt x="2870" y="896"/>
                    <a:pt x="2865" y="894"/>
                    <a:pt x="2863" y="889"/>
                  </a:cubicBezTo>
                  <a:cubicBezTo>
                    <a:pt x="2859" y="891"/>
                    <a:pt x="2831" y="927"/>
                    <a:pt x="2831" y="927"/>
                  </a:cubicBezTo>
                  <a:cubicBezTo>
                    <a:pt x="2824" y="924"/>
                    <a:pt x="2817" y="927"/>
                    <a:pt x="2815" y="934"/>
                  </a:cubicBezTo>
                  <a:cubicBezTo>
                    <a:pt x="2812" y="935"/>
                    <a:pt x="2809" y="936"/>
                    <a:pt x="2808" y="942"/>
                  </a:cubicBezTo>
                  <a:cubicBezTo>
                    <a:pt x="2806" y="944"/>
                    <a:pt x="2802" y="941"/>
                    <a:pt x="2808" y="947"/>
                  </a:cubicBezTo>
                  <a:cubicBezTo>
                    <a:pt x="2806" y="948"/>
                    <a:pt x="2804" y="946"/>
                    <a:pt x="2802" y="949"/>
                  </a:cubicBezTo>
                  <a:cubicBezTo>
                    <a:pt x="2808" y="953"/>
                    <a:pt x="2820" y="955"/>
                    <a:pt x="2824" y="960"/>
                  </a:cubicBezTo>
                  <a:cubicBezTo>
                    <a:pt x="2830" y="961"/>
                    <a:pt x="2836" y="960"/>
                    <a:pt x="2837" y="955"/>
                  </a:cubicBezTo>
                  <a:cubicBezTo>
                    <a:pt x="2841" y="954"/>
                    <a:pt x="2846" y="951"/>
                    <a:pt x="2846" y="951"/>
                  </a:cubicBezTo>
                  <a:cubicBezTo>
                    <a:pt x="2849" y="943"/>
                    <a:pt x="2858" y="928"/>
                    <a:pt x="2858" y="926"/>
                  </a:cubicBezTo>
                  <a:cubicBezTo>
                    <a:pt x="2861" y="926"/>
                    <a:pt x="2866" y="927"/>
                    <a:pt x="2864" y="928"/>
                  </a:cubicBezTo>
                  <a:cubicBezTo>
                    <a:pt x="2867" y="928"/>
                    <a:pt x="2869" y="929"/>
                    <a:pt x="2868" y="926"/>
                  </a:cubicBezTo>
                  <a:cubicBezTo>
                    <a:pt x="2869" y="927"/>
                    <a:pt x="2871" y="928"/>
                    <a:pt x="2871" y="927"/>
                  </a:cubicBezTo>
                  <a:cubicBezTo>
                    <a:pt x="2868" y="925"/>
                    <a:pt x="2868" y="923"/>
                    <a:pt x="2866" y="920"/>
                  </a:cubicBezTo>
                  <a:cubicBezTo>
                    <a:pt x="2874" y="916"/>
                    <a:pt x="2880" y="907"/>
                    <a:pt x="2880" y="902"/>
                  </a:cubicBezTo>
                  <a:cubicBezTo>
                    <a:pt x="2879" y="898"/>
                    <a:pt x="2879" y="897"/>
                    <a:pt x="2877" y="897"/>
                  </a:cubicBezTo>
                  <a:close/>
                  <a:moveTo>
                    <a:pt x="2645" y="754"/>
                  </a:moveTo>
                  <a:cubicBezTo>
                    <a:pt x="2635" y="745"/>
                    <a:pt x="2635" y="733"/>
                    <a:pt x="2625" y="725"/>
                  </a:cubicBezTo>
                  <a:cubicBezTo>
                    <a:pt x="2617" y="718"/>
                    <a:pt x="2605" y="717"/>
                    <a:pt x="2603" y="706"/>
                  </a:cubicBezTo>
                  <a:cubicBezTo>
                    <a:pt x="2600" y="707"/>
                    <a:pt x="2598" y="704"/>
                    <a:pt x="2594" y="704"/>
                  </a:cubicBezTo>
                  <a:cubicBezTo>
                    <a:pt x="2594" y="705"/>
                    <a:pt x="2595" y="706"/>
                    <a:pt x="2597" y="707"/>
                  </a:cubicBezTo>
                  <a:cubicBezTo>
                    <a:pt x="2589" y="703"/>
                    <a:pt x="2586" y="696"/>
                    <a:pt x="2579" y="692"/>
                  </a:cubicBezTo>
                  <a:cubicBezTo>
                    <a:pt x="2578" y="690"/>
                    <a:pt x="2570" y="686"/>
                    <a:pt x="2563" y="687"/>
                  </a:cubicBezTo>
                  <a:cubicBezTo>
                    <a:pt x="2564" y="686"/>
                    <a:pt x="2530" y="653"/>
                    <a:pt x="2522" y="648"/>
                  </a:cubicBezTo>
                  <a:cubicBezTo>
                    <a:pt x="2519" y="645"/>
                    <a:pt x="2511" y="637"/>
                    <a:pt x="2506" y="633"/>
                  </a:cubicBezTo>
                  <a:cubicBezTo>
                    <a:pt x="2498" y="626"/>
                    <a:pt x="2487" y="627"/>
                    <a:pt x="2497" y="638"/>
                  </a:cubicBezTo>
                  <a:cubicBezTo>
                    <a:pt x="2494" y="640"/>
                    <a:pt x="2493" y="639"/>
                    <a:pt x="2496" y="643"/>
                  </a:cubicBezTo>
                  <a:cubicBezTo>
                    <a:pt x="2494" y="660"/>
                    <a:pt x="2507" y="674"/>
                    <a:pt x="2478" y="666"/>
                  </a:cubicBezTo>
                  <a:cubicBezTo>
                    <a:pt x="2467" y="663"/>
                    <a:pt x="2434" y="658"/>
                    <a:pt x="2441" y="644"/>
                  </a:cubicBezTo>
                  <a:cubicBezTo>
                    <a:pt x="2441" y="644"/>
                    <a:pt x="2438" y="645"/>
                    <a:pt x="2438" y="643"/>
                  </a:cubicBezTo>
                  <a:cubicBezTo>
                    <a:pt x="2440" y="642"/>
                    <a:pt x="2441" y="641"/>
                    <a:pt x="2445" y="641"/>
                  </a:cubicBezTo>
                  <a:cubicBezTo>
                    <a:pt x="2446" y="639"/>
                    <a:pt x="2445" y="638"/>
                    <a:pt x="2443" y="638"/>
                  </a:cubicBezTo>
                  <a:cubicBezTo>
                    <a:pt x="2445" y="637"/>
                    <a:pt x="2446" y="637"/>
                    <a:pt x="2447" y="634"/>
                  </a:cubicBezTo>
                  <a:cubicBezTo>
                    <a:pt x="2441" y="634"/>
                    <a:pt x="2442" y="634"/>
                    <a:pt x="2440" y="635"/>
                  </a:cubicBezTo>
                  <a:cubicBezTo>
                    <a:pt x="2435" y="634"/>
                    <a:pt x="2436" y="634"/>
                    <a:pt x="2435" y="633"/>
                  </a:cubicBezTo>
                  <a:cubicBezTo>
                    <a:pt x="2434" y="633"/>
                    <a:pt x="2433" y="633"/>
                    <a:pt x="2432" y="633"/>
                  </a:cubicBezTo>
                  <a:cubicBezTo>
                    <a:pt x="2420" y="635"/>
                    <a:pt x="2407" y="628"/>
                    <a:pt x="2395" y="628"/>
                  </a:cubicBezTo>
                  <a:cubicBezTo>
                    <a:pt x="2400" y="629"/>
                    <a:pt x="2401" y="631"/>
                    <a:pt x="2405" y="633"/>
                  </a:cubicBezTo>
                  <a:cubicBezTo>
                    <a:pt x="2398" y="634"/>
                    <a:pt x="2387" y="634"/>
                    <a:pt x="2387" y="638"/>
                  </a:cubicBezTo>
                  <a:cubicBezTo>
                    <a:pt x="2383" y="638"/>
                    <a:pt x="2382" y="639"/>
                    <a:pt x="2386" y="642"/>
                  </a:cubicBezTo>
                  <a:cubicBezTo>
                    <a:pt x="2382" y="643"/>
                    <a:pt x="2379" y="644"/>
                    <a:pt x="2377" y="648"/>
                  </a:cubicBezTo>
                  <a:cubicBezTo>
                    <a:pt x="2379" y="649"/>
                    <a:pt x="2380" y="648"/>
                    <a:pt x="2382" y="649"/>
                  </a:cubicBezTo>
                  <a:cubicBezTo>
                    <a:pt x="2379" y="651"/>
                    <a:pt x="2383" y="651"/>
                    <a:pt x="2385" y="651"/>
                  </a:cubicBezTo>
                  <a:cubicBezTo>
                    <a:pt x="2383" y="652"/>
                    <a:pt x="2381" y="652"/>
                    <a:pt x="2380" y="651"/>
                  </a:cubicBezTo>
                  <a:cubicBezTo>
                    <a:pt x="2382" y="652"/>
                    <a:pt x="2383" y="653"/>
                    <a:pt x="2385" y="655"/>
                  </a:cubicBezTo>
                  <a:cubicBezTo>
                    <a:pt x="2380" y="652"/>
                    <a:pt x="2376" y="651"/>
                    <a:pt x="2370" y="651"/>
                  </a:cubicBezTo>
                  <a:cubicBezTo>
                    <a:pt x="2370" y="652"/>
                    <a:pt x="2367" y="654"/>
                    <a:pt x="2364" y="656"/>
                  </a:cubicBezTo>
                  <a:cubicBezTo>
                    <a:pt x="2371" y="648"/>
                    <a:pt x="2356" y="645"/>
                    <a:pt x="2353" y="645"/>
                  </a:cubicBezTo>
                  <a:cubicBezTo>
                    <a:pt x="2349" y="645"/>
                    <a:pt x="2350" y="648"/>
                    <a:pt x="2345" y="645"/>
                  </a:cubicBezTo>
                  <a:cubicBezTo>
                    <a:pt x="2346" y="647"/>
                    <a:pt x="2345" y="647"/>
                    <a:pt x="2346" y="649"/>
                  </a:cubicBezTo>
                  <a:cubicBezTo>
                    <a:pt x="2346" y="649"/>
                    <a:pt x="2343" y="648"/>
                    <a:pt x="2343" y="648"/>
                  </a:cubicBezTo>
                  <a:cubicBezTo>
                    <a:pt x="2339" y="651"/>
                    <a:pt x="2338" y="648"/>
                    <a:pt x="2342" y="652"/>
                  </a:cubicBezTo>
                  <a:cubicBezTo>
                    <a:pt x="2340" y="654"/>
                    <a:pt x="2338" y="651"/>
                    <a:pt x="2336" y="653"/>
                  </a:cubicBezTo>
                  <a:cubicBezTo>
                    <a:pt x="2336" y="654"/>
                    <a:pt x="2339" y="654"/>
                    <a:pt x="2340" y="654"/>
                  </a:cubicBezTo>
                  <a:cubicBezTo>
                    <a:pt x="2338" y="655"/>
                    <a:pt x="2335" y="655"/>
                    <a:pt x="2332" y="655"/>
                  </a:cubicBezTo>
                  <a:cubicBezTo>
                    <a:pt x="2333" y="656"/>
                    <a:pt x="2333" y="657"/>
                    <a:pt x="2333" y="657"/>
                  </a:cubicBezTo>
                  <a:cubicBezTo>
                    <a:pt x="2333" y="657"/>
                    <a:pt x="2332" y="656"/>
                    <a:pt x="2332" y="656"/>
                  </a:cubicBezTo>
                  <a:cubicBezTo>
                    <a:pt x="2332" y="657"/>
                    <a:pt x="2333" y="658"/>
                    <a:pt x="2334" y="658"/>
                  </a:cubicBezTo>
                  <a:cubicBezTo>
                    <a:pt x="2335" y="660"/>
                    <a:pt x="2335" y="660"/>
                    <a:pt x="2337" y="661"/>
                  </a:cubicBezTo>
                  <a:cubicBezTo>
                    <a:pt x="2334" y="661"/>
                    <a:pt x="2329" y="662"/>
                    <a:pt x="2325" y="661"/>
                  </a:cubicBezTo>
                  <a:cubicBezTo>
                    <a:pt x="2328" y="662"/>
                    <a:pt x="2328" y="663"/>
                    <a:pt x="2331" y="664"/>
                  </a:cubicBezTo>
                  <a:cubicBezTo>
                    <a:pt x="2329" y="666"/>
                    <a:pt x="2329" y="667"/>
                    <a:pt x="2330" y="670"/>
                  </a:cubicBezTo>
                  <a:cubicBezTo>
                    <a:pt x="2326" y="668"/>
                    <a:pt x="2323" y="664"/>
                    <a:pt x="2320" y="661"/>
                  </a:cubicBezTo>
                  <a:cubicBezTo>
                    <a:pt x="2317" y="663"/>
                    <a:pt x="2317" y="665"/>
                    <a:pt x="2313" y="667"/>
                  </a:cubicBezTo>
                  <a:cubicBezTo>
                    <a:pt x="2326" y="684"/>
                    <a:pt x="2252" y="692"/>
                    <a:pt x="2244" y="701"/>
                  </a:cubicBezTo>
                  <a:cubicBezTo>
                    <a:pt x="2244" y="701"/>
                    <a:pt x="2244" y="697"/>
                    <a:pt x="2244" y="696"/>
                  </a:cubicBezTo>
                  <a:cubicBezTo>
                    <a:pt x="2238" y="710"/>
                    <a:pt x="2243" y="718"/>
                    <a:pt x="2251" y="731"/>
                  </a:cubicBezTo>
                  <a:cubicBezTo>
                    <a:pt x="2247" y="728"/>
                    <a:pt x="2245" y="729"/>
                    <a:pt x="2242" y="724"/>
                  </a:cubicBezTo>
                  <a:cubicBezTo>
                    <a:pt x="2244" y="727"/>
                    <a:pt x="2244" y="729"/>
                    <a:pt x="2248" y="733"/>
                  </a:cubicBezTo>
                  <a:cubicBezTo>
                    <a:pt x="2245" y="731"/>
                    <a:pt x="2244" y="731"/>
                    <a:pt x="2241" y="729"/>
                  </a:cubicBezTo>
                  <a:cubicBezTo>
                    <a:pt x="2241" y="729"/>
                    <a:pt x="2241" y="730"/>
                    <a:pt x="2240" y="730"/>
                  </a:cubicBezTo>
                  <a:cubicBezTo>
                    <a:pt x="2256" y="738"/>
                    <a:pt x="2270" y="769"/>
                    <a:pt x="2270" y="782"/>
                  </a:cubicBezTo>
                  <a:cubicBezTo>
                    <a:pt x="2271" y="791"/>
                    <a:pt x="2258" y="790"/>
                    <a:pt x="2275" y="798"/>
                  </a:cubicBezTo>
                  <a:cubicBezTo>
                    <a:pt x="2284" y="803"/>
                    <a:pt x="2292" y="800"/>
                    <a:pt x="2299" y="798"/>
                  </a:cubicBezTo>
                  <a:cubicBezTo>
                    <a:pt x="2312" y="795"/>
                    <a:pt x="2333" y="796"/>
                    <a:pt x="2347" y="792"/>
                  </a:cubicBezTo>
                  <a:cubicBezTo>
                    <a:pt x="2355" y="790"/>
                    <a:pt x="2360" y="782"/>
                    <a:pt x="2371" y="780"/>
                  </a:cubicBezTo>
                  <a:cubicBezTo>
                    <a:pt x="2378" y="778"/>
                    <a:pt x="2389" y="778"/>
                    <a:pt x="2397" y="777"/>
                  </a:cubicBezTo>
                  <a:cubicBezTo>
                    <a:pt x="2418" y="774"/>
                    <a:pt x="2440" y="776"/>
                    <a:pt x="2458" y="785"/>
                  </a:cubicBezTo>
                  <a:cubicBezTo>
                    <a:pt x="2458" y="790"/>
                    <a:pt x="2471" y="797"/>
                    <a:pt x="2468" y="803"/>
                  </a:cubicBezTo>
                  <a:cubicBezTo>
                    <a:pt x="2471" y="805"/>
                    <a:pt x="2474" y="806"/>
                    <a:pt x="2477" y="807"/>
                  </a:cubicBezTo>
                  <a:cubicBezTo>
                    <a:pt x="2475" y="798"/>
                    <a:pt x="2493" y="795"/>
                    <a:pt x="2491" y="785"/>
                  </a:cubicBezTo>
                  <a:cubicBezTo>
                    <a:pt x="2498" y="794"/>
                    <a:pt x="2491" y="798"/>
                    <a:pt x="2491" y="807"/>
                  </a:cubicBezTo>
                  <a:cubicBezTo>
                    <a:pt x="2490" y="807"/>
                    <a:pt x="2488" y="807"/>
                    <a:pt x="2487" y="807"/>
                  </a:cubicBezTo>
                  <a:cubicBezTo>
                    <a:pt x="2486" y="808"/>
                    <a:pt x="2486" y="809"/>
                    <a:pt x="2486" y="810"/>
                  </a:cubicBezTo>
                  <a:cubicBezTo>
                    <a:pt x="2494" y="810"/>
                    <a:pt x="2497" y="807"/>
                    <a:pt x="2499" y="801"/>
                  </a:cubicBezTo>
                  <a:cubicBezTo>
                    <a:pt x="2502" y="809"/>
                    <a:pt x="2505" y="808"/>
                    <a:pt x="2499" y="814"/>
                  </a:cubicBezTo>
                  <a:cubicBezTo>
                    <a:pt x="2503" y="813"/>
                    <a:pt x="2508" y="814"/>
                    <a:pt x="2512" y="812"/>
                  </a:cubicBezTo>
                  <a:cubicBezTo>
                    <a:pt x="2511" y="815"/>
                    <a:pt x="2511" y="813"/>
                    <a:pt x="2509" y="815"/>
                  </a:cubicBezTo>
                  <a:cubicBezTo>
                    <a:pt x="2522" y="824"/>
                    <a:pt x="2518" y="833"/>
                    <a:pt x="2534" y="841"/>
                  </a:cubicBezTo>
                  <a:cubicBezTo>
                    <a:pt x="2545" y="846"/>
                    <a:pt x="2559" y="851"/>
                    <a:pt x="2569" y="845"/>
                  </a:cubicBezTo>
                  <a:cubicBezTo>
                    <a:pt x="2569" y="843"/>
                    <a:pt x="2569" y="842"/>
                    <a:pt x="2567" y="843"/>
                  </a:cubicBezTo>
                  <a:cubicBezTo>
                    <a:pt x="2571" y="841"/>
                    <a:pt x="2570" y="840"/>
                    <a:pt x="2575" y="843"/>
                  </a:cubicBezTo>
                  <a:cubicBezTo>
                    <a:pt x="2574" y="844"/>
                    <a:pt x="2572" y="844"/>
                    <a:pt x="2571" y="845"/>
                  </a:cubicBezTo>
                  <a:cubicBezTo>
                    <a:pt x="2574" y="845"/>
                    <a:pt x="2576" y="845"/>
                    <a:pt x="2579" y="845"/>
                  </a:cubicBezTo>
                  <a:cubicBezTo>
                    <a:pt x="2580" y="849"/>
                    <a:pt x="2582" y="851"/>
                    <a:pt x="2588" y="855"/>
                  </a:cubicBezTo>
                  <a:cubicBezTo>
                    <a:pt x="2586" y="851"/>
                    <a:pt x="2587" y="853"/>
                    <a:pt x="2585" y="851"/>
                  </a:cubicBezTo>
                  <a:cubicBezTo>
                    <a:pt x="2593" y="850"/>
                    <a:pt x="2600" y="847"/>
                    <a:pt x="2596" y="843"/>
                  </a:cubicBezTo>
                  <a:cubicBezTo>
                    <a:pt x="2618" y="841"/>
                    <a:pt x="2618" y="844"/>
                    <a:pt x="2623" y="829"/>
                  </a:cubicBezTo>
                  <a:cubicBezTo>
                    <a:pt x="2625" y="822"/>
                    <a:pt x="2631" y="806"/>
                    <a:pt x="2629" y="800"/>
                  </a:cubicBezTo>
                  <a:cubicBezTo>
                    <a:pt x="2632" y="797"/>
                    <a:pt x="2635" y="795"/>
                    <a:pt x="2638" y="793"/>
                  </a:cubicBezTo>
                  <a:cubicBezTo>
                    <a:pt x="2638" y="793"/>
                    <a:pt x="2643" y="786"/>
                    <a:pt x="2645" y="780"/>
                  </a:cubicBezTo>
                  <a:cubicBezTo>
                    <a:pt x="2646" y="774"/>
                    <a:pt x="2644" y="759"/>
                    <a:pt x="2645" y="754"/>
                  </a:cubicBezTo>
                  <a:close/>
                  <a:moveTo>
                    <a:pt x="827" y="599"/>
                  </a:moveTo>
                  <a:cubicBezTo>
                    <a:pt x="829" y="610"/>
                    <a:pt x="795" y="637"/>
                    <a:pt x="785" y="634"/>
                  </a:cubicBezTo>
                  <a:cubicBezTo>
                    <a:pt x="781" y="651"/>
                    <a:pt x="779" y="666"/>
                    <a:pt x="768" y="681"/>
                  </a:cubicBezTo>
                  <a:cubicBezTo>
                    <a:pt x="756" y="696"/>
                    <a:pt x="748" y="695"/>
                    <a:pt x="728" y="699"/>
                  </a:cubicBezTo>
                  <a:cubicBezTo>
                    <a:pt x="729" y="699"/>
                    <a:pt x="731" y="698"/>
                    <a:pt x="733" y="697"/>
                  </a:cubicBezTo>
                  <a:cubicBezTo>
                    <a:pt x="716" y="699"/>
                    <a:pt x="700" y="711"/>
                    <a:pt x="684" y="716"/>
                  </a:cubicBezTo>
                  <a:cubicBezTo>
                    <a:pt x="682" y="729"/>
                    <a:pt x="670" y="757"/>
                    <a:pt x="648" y="762"/>
                  </a:cubicBezTo>
                  <a:cubicBezTo>
                    <a:pt x="642" y="770"/>
                    <a:pt x="634" y="778"/>
                    <a:pt x="629" y="781"/>
                  </a:cubicBezTo>
                  <a:cubicBezTo>
                    <a:pt x="619" y="786"/>
                    <a:pt x="584" y="791"/>
                    <a:pt x="584" y="774"/>
                  </a:cubicBezTo>
                  <a:cubicBezTo>
                    <a:pt x="578" y="787"/>
                    <a:pt x="604" y="792"/>
                    <a:pt x="596" y="805"/>
                  </a:cubicBezTo>
                  <a:cubicBezTo>
                    <a:pt x="585" y="825"/>
                    <a:pt x="560" y="810"/>
                    <a:pt x="547" y="818"/>
                  </a:cubicBezTo>
                  <a:cubicBezTo>
                    <a:pt x="537" y="825"/>
                    <a:pt x="544" y="833"/>
                    <a:pt x="530" y="839"/>
                  </a:cubicBezTo>
                  <a:cubicBezTo>
                    <a:pt x="524" y="841"/>
                    <a:pt x="513" y="828"/>
                    <a:pt x="516" y="842"/>
                  </a:cubicBezTo>
                  <a:cubicBezTo>
                    <a:pt x="519" y="852"/>
                    <a:pt x="529" y="844"/>
                    <a:pt x="531" y="848"/>
                  </a:cubicBezTo>
                  <a:cubicBezTo>
                    <a:pt x="533" y="856"/>
                    <a:pt x="520" y="853"/>
                    <a:pt x="517" y="852"/>
                  </a:cubicBezTo>
                  <a:cubicBezTo>
                    <a:pt x="518" y="853"/>
                    <a:pt x="521" y="854"/>
                    <a:pt x="522" y="855"/>
                  </a:cubicBezTo>
                  <a:cubicBezTo>
                    <a:pt x="511" y="858"/>
                    <a:pt x="516" y="865"/>
                    <a:pt x="512" y="869"/>
                  </a:cubicBezTo>
                  <a:cubicBezTo>
                    <a:pt x="509" y="872"/>
                    <a:pt x="498" y="875"/>
                    <a:pt x="496" y="878"/>
                  </a:cubicBezTo>
                  <a:cubicBezTo>
                    <a:pt x="485" y="894"/>
                    <a:pt x="506" y="890"/>
                    <a:pt x="509" y="901"/>
                  </a:cubicBezTo>
                  <a:cubicBezTo>
                    <a:pt x="497" y="912"/>
                    <a:pt x="464" y="929"/>
                    <a:pt x="486" y="946"/>
                  </a:cubicBezTo>
                  <a:cubicBezTo>
                    <a:pt x="480" y="946"/>
                    <a:pt x="475" y="949"/>
                    <a:pt x="471" y="953"/>
                  </a:cubicBezTo>
                  <a:cubicBezTo>
                    <a:pt x="477" y="950"/>
                    <a:pt x="484" y="947"/>
                    <a:pt x="487" y="957"/>
                  </a:cubicBezTo>
                  <a:cubicBezTo>
                    <a:pt x="485" y="957"/>
                    <a:pt x="485" y="956"/>
                    <a:pt x="483" y="958"/>
                  </a:cubicBezTo>
                  <a:cubicBezTo>
                    <a:pt x="494" y="961"/>
                    <a:pt x="502" y="971"/>
                    <a:pt x="517" y="971"/>
                  </a:cubicBezTo>
                  <a:cubicBezTo>
                    <a:pt x="516" y="975"/>
                    <a:pt x="505" y="976"/>
                    <a:pt x="494" y="976"/>
                  </a:cubicBezTo>
                  <a:cubicBezTo>
                    <a:pt x="496" y="976"/>
                    <a:pt x="498" y="977"/>
                    <a:pt x="500" y="977"/>
                  </a:cubicBezTo>
                  <a:cubicBezTo>
                    <a:pt x="497" y="981"/>
                    <a:pt x="490" y="979"/>
                    <a:pt x="482" y="979"/>
                  </a:cubicBezTo>
                  <a:cubicBezTo>
                    <a:pt x="487" y="981"/>
                    <a:pt x="487" y="983"/>
                    <a:pt x="490" y="985"/>
                  </a:cubicBezTo>
                  <a:cubicBezTo>
                    <a:pt x="486" y="983"/>
                    <a:pt x="483" y="983"/>
                    <a:pt x="480" y="981"/>
                  </a:cubicBezTo>
                  <a:cubicBezTo>
                    <a:pt x="480" y="982"/>
                    <a:pt x="482" y="984"/>
                    <a:pt x="481" y="984"/>
                  </a:cubicBezTo>
                  <a:cubicBezTo>
                    <a:pt x="476" y="984"/>
                    <a:pt x="476" y="982"/>
                    <a:pt x="475" y="981"/>
                  </a:cubicBezTo>
                  <a:cubicBezTo>
                    <a:pt x="469" y="981"/>
                    <a:pt x="474" y="980"/>
                    <a:pt x="477" y="979"/>
                  </a:cubicBezTo>
                  <a:cubicBezTo>
                    <a:pt x="476" y="979"/>
                    <a:pt x="472" y="979"/>
                    <a:pt x="475" y="978"/>
                  </a:cubicBezTo>
                  <a:cubicBezTo>
                    <a:pt x="481" y="977"/>
                    <a:pt x="486" y="977"/>
                    <a:pt x="491" y="977"/>
                  </a:cubicBezTo>
                  <a:cubicBezTo>
                    <a:pt x="482" y="977"/>
                    <a:pt x="471" y="977"/>
                    <a:pt x="467" y="978"/>
                  </a:cubicBezTo>
                  <a:cubicBezTo>
                    <a:pt x="467" y="978"/>
                    <a:pt x="468" y="978"/>
                    <a:pt x="469" y="978"/>
                  </a:cubicBezTo>
                  <a:cubicBezTo>
                    <a:pt x="468" y="980"/>
                    <a:pt x="466" y="979"/>
                    <a:pt x="465" y="979"/>
                  </a:cubicBezTo>
                  <a:cubicBezTo>
                    <a:pt x="465" y="981"/>
                    <a:pt x="467" y="980"/>
                    <a:pt x="468" y="982"/>
                  </a:cubicBezTo>
                  <a:cubicBezTo>
                    <a:pt x="467" y="981"/>
                    <a:pt x="463" y="980"/>
                    <a:pt x="462" y="979"/>
                  </a:cubicBezTo>
                  <a:cubicBezTo>
                    <a:pt x="462" y="978"/>
                    <a:pt x="463" y="978"/>
                    <a:pt x="465" y="978"/>
                  </a:cubicBezTo>
                  <a:cubicBezTo>
                    <a:pt x="461" y="976"/>
                    <a:pt x="459" y="975"/>
                    <a:pt x="454" y="975"/>
                  </a:cubicBezTo>
                  <a:cubicBezTo>
                    <a:pt x="458" y="973"/>
                    <a:pt x="463" y="972"/>
                    <a:pt x="469" y="972"/>
                  </a:cubicBezTo>
                  <a:cubicBezTo>
                    <a:pt x="468" y="972"/>
                    <a:pt x="465" y="970"/>
                    <a:pt x="464" y="969"/>
                  </a:cubicBezTo>
                  <a:cubicBezTo>
                    <a:pt x="472" y="970"/>
                    <a:pt x="485" y="975"/>
                    <a:pt x="495" y="971"/>
                  </a:cubicBezTo>
                  <a:cubicBezTo>
                    <a:pt x="484" y="974"/>
                    <a:pt x="460" y="968"/>
                    <a:pt x="477" y="960"/>
                  </a:cubicBezTo>
                  <a:cubicBezTo>
                    <a:pt x="470" y="962"/>
                    <a:pt x="465" y="963"/>
                    <a:pt x="469" y="955"/>
                  </a:cubicBezTo>
                  <a:cubicBezTo>
                    <a:pt x="469" y="956"/>
                    <a:pt x="468" y="956"/>
                    <a:pt x="467" y="955"/>
                  </a:cubicBezTo>
                  <a:cubicBezTo>
                    <a:pt x="461" y="962"/>
                    <a:pt x="456" y="968"/>
                    <a:pt x="449" y="963"/>
                  </a:cubicBezTo>
                  <a:cubicBezTo>
                    <a:pt x="451" y="961"/>
                    <a:pt x="454" y="959"/>
                    <a:pt x="457" y="958"/>
                  </a:cubicBezTo>
                  <a:cubicBezTo>
                    <a:pt x="450" y="957"/>
                    <a:pt x="448" y="958"/>
                    <a:pt x="441" y="961"/>
                  </a:cubicBezTo>
                  <a:cubicBezTo>
                    <a:pt x="444" y="957"/>
                    <a:pt x="448" y="954"/>
                    <a:pt x="452" y="952"/>
                  </a:cubicBezTo>
                  <a:cubicBezTo>
                    <a:pt x="442" y="952"/>
                    <a:pt x="436" y="964"/>
                    <a:pt x="432" y="949"/>
                  </a:cubicBezTo>
                  <a:cubicBezTo>
                    <a:pt x="441" y="950"/>
                    <a:pt x="442" y="948"/>
                    <a:pt x="446" y="942"/>
                  </a:cubicBezTo>
                  <a:cubicBezTo>
                    <a:pt x="444" y="941"/>
                    <a:pt x="442" y="941"/>
                    <a:pt x="440" y="940"/>
                  </a:cubicBezTo>
                  <a:cubicBezTo>
                    <a:pt x="445" y="943"/>
                    <a:pt x="444" y="943"/>
                    <a:pt x="439" y="942"/>
                  </a:cubicBezTo>
                  <a:cubicBezTo>
                    <a:pt x="439" y="946"/>
                    <a:pt x="438" y="947"/>
                    <a:pt x="435" y="943"/>
                  </a:cubicBezTo>
                  <a:cubicBezTo>
                    <a:pt x="433" y="946"/>
                    <a:pt x="434" y="949"/>
                    <a:pt x="429" y="942"/>
                  </a:cubicBezTo>
                  <a:cubicBezTo>
                    <a:pt x="430" y="941"/>
                    <a:pt x="432" y="941"/>
                    <a:pt x="433" y="940"/>
                  </a:cubicBezTo>
                  <a:cubicBezTo>
                    <a:pt x="428" y="936"/>
                    <a:pt x="428" y="933"/>
                    <a:pt x="423" y="929"/>
                  </a:cubicBezTo>
                  <a:cubicBezTo>
                    <a:pt x="428" y="924"/>
                    <a:pt x="428" y="921"/>
                    <a:pt x="431" y="916"/>
                  </a:cubicBezTo>
                  <a:cubicBezTo>
                    <a:pt x="429" y="918"/>
                    <a:pt x="429" y="920"/>
                    <a:pt x="427" y="921"/>
                  </a:cubicBezTo>
                  <a:cubicBezTo>
                    <a:pt x="426" y="915"/>
                    <a:pt x="424" y="917"/>
                    <a:pt x="429" y="909"/>
                  </a:cubicBezTo>
                  <a:cubicBezTo>
                    <a:pt x="427" y="908"/>
                    <a:pt x="425" y="907"/>
                    <a:pt x="424" y="907"/>
                  </a:cubicBezTo>
                  <a:cubicBezTo>
                    <a:pt x="425" y="906"/>
                    <a:pt x="427" y="905"/>
                    <a:pt x="428" y="904"/>
                  </a:cubicBezTo>
                  <a:cubicBezTo>
                    <a:pt x="427" y="903"/>
                    <a:pt x="423" y="902"/>
                    <a:pt x="422" y="901"/>
                  </a:cubicBezTo>
                  <a:cubicBezTo>
                    <a:pt x="427" y="892"/>
                    <a:pt x="417" y="891"/>
                    <a:pt x="410" y="893"/>
                  </a:cubicBezTo>
                  <a:cubicBezTo>
                    <a:pt x="415" y="886"/>
                    <a:pt x="429" y="879"/>
                    <a:pt x="427" y="891"/>
                  </a:cubicBezTo>
                  <a:cubicBezTo>
                    <a:pt x="430" y="884"/>
                    <a:pt x="433" y="880"/>
                    <a:pt x="436" y="875"/>
                  </a:cubicBezTo>
                  <a:cubicBezTo>
                    <a:pt x="435" y="875"/>
                    <a:pt x="435" y="875"/>
                    <a:pt x="435" y="875"/>
                  </a:cubicBezTo>
                  <a:cubicBezTo>
                    <a:pt x="435" y="874"/>
                    <a:pt x="432" y="871"/>
                    <a:pt x="437" y="872"/>
                  </a:cubicBezTo>
                  <a:cubicBezTo>
                    <a:pt x="439" y="868"/>
                    <a:pt x="440" y="863"/>
                    <a:pt x="439" y="856"/>
                  </a:cubicBezTo>
                  <a:cubicBezTo>
                    <a:pt x="438" y="851"/>
                    <a:pt x="444" y="851"/>
                    <a:pt x="443" y="846"/>
                  </a:cubicBezTo>
                  <a:cubicBezTo>
                    <a:pt x="443" y="843"/>
                    <a:pt x="437" y="848"/>
                    <a:pt x="437" y="847"/>
                  </a:cubicBezTo>
                  <a:cubicBezTo>
                    <a:pt x="437" y="848"/>
                    <a:pt x="430" y="844"/>
                    <a:pt x="429" y="841"/>
                  </a:cubicBezTo>
                  <a:cubicBezTo>
                    <a:pt x="428" y="836"/>
                    <a:pt x="436" y="828"/>
                    <a:pt x="437" y="823"/>
                  </a:cubicBezTo>
                  <a:cubicBezTo>
                    <a:pt x="437" y="821"/>
                    <a:pt x="432" y="814"/>
                    <a:pt x="432" y="813"/>
                  </a:cubicBezTo>
                  <a:cubicBezTo>
                    <a:pt x="434" y="808"/>
                    <a:pt x="437" y="810"/>
                    <a:pt x="438" y="807"/>
                  </a:cubicBezTo>
                  <a:cubicBezTo>
                    <a:pt x="441" y="799"/>
                    <a:pt x="446" y="793"/>
                    <a:pt x="450" y="786"/>
                  </a:cubicBezTo>
                  <a:cubicBezTo>
                    <a:pt x="455" y="775"/>
                    <a:pt x="455" y="765"/>
                    <a:pt x="458" y="753"/>
                  </a:cubicBezTo>
                  <a:cubicBezTo>
                    <a:pt x="462" y="734"/>
                    <a:pt x="474" y="711"/>
                    <a:pt x="479" y="689"/>
                  </a:cubicBezTo>
                  <a:cubicBezTo>
                    <a:pt x="486" y="657"/>
                    <a:pt x="451" y="665"/>
                    <a:pt x="433" y="647"/>
                  </a:cubicBezTo>
                  <a:cubicBezTo>
                    <a:pt x="417" y="632"/>
                    <a:pt x="420" y="601"/>
                    <a:pt x="394" y="595"/>
                  </a:cubicBezTo>
                  <a:cubicBezTo>
                    <a:pt x="395" y="583"/>
                    <a:pt x="410" y="585"/>
                    <a:pt x="414" y="574"/>
                  </a:cubicBezTo>
                  <a:cubicBezTo>
                    <a:pt x="409" y="576"/>
                    <a:pt x="409" y="574"/>
                    <a:pt x="404" y="574"/>
                  </a:cubicBezTo>
                  <a:cubicBezTo>
                    <a:pt x="407" y="566"/>
                    <a:pt x="413" y="563"/>
                    <a:pt x="416" y="556"/>
                  </a:cubicBezTo>
                  <a:cubicBezTo>
                    <a:pt x="439" y="555"/>
                    <a:pt x="455" y="533"/>
                    <a:pt x="452" y="517"/>
                  </a:cubicBezTo>
                  <a:cubicBezTo>
                    <a:pt x="450" y="515"/>
                    <a:pt x="443" y="517"/>
                    <a:pt x="451" y="512"/>
                  </a:cubicBezTo>
                  <a:cubicBezTo>
                    <a:pt x="444" y="508"/>
                    <a:pt x="437" y="509"/>
                    <a:pt x="429" y="514"/>
                  </a:cubicBezTo>
                  <a:cubicBezTo>
                    <a:pt x="429" y="515"/>
                    <a:pt x="431" y="515"/>
                    <a:pt x="432" y="516"/>
                  </a:cubicBezTo>
                  <a:cubicBezTo>
                    <a:pt x="430" y="517"/>
                    <a:pt x="426" y="518"/>
                    <a:pt x="423" y="519"/>
                  </a:cubicBezTo>
                  <a:cubicBezTo>
                    <a:pt x="423" y="518"/>
                    <a:pt x="424" y="515"/>
                    <a:pt x="424" y="516"/>
                  </a:cubicBezTo>
                  <a:cubicBezTo>
                    <a:pt x="420" y="515"/>
                    <a:pt x="410" y="514"/>
                    <a:pt x="405" y="512"/>
                  </a:cubicBezTo>
                  <a:cubicBezTo>
                    <a:pt x="405" y="512"/>
                    <a:pt x="405" y="512"/>
                    <a:pt x="405" y="512"/>
                  </a:cubicBezTo>
                  <a:cubicBezTo>
                    <a:pt x="405" y="512"/>
                    <a:pt x="405" y="512"/>
                    <a:pt x="405" y="512"/>
                  </a:cubicBezTo>
                  <a:cubicBezTo>
                    <a:pt x="404" y="511"/>
                    <a:pt x="403" y="511"/>
                    <a:pt x="403" y="510"/>
                  </a:cubicBezTo>
                  <a:cubicBezTo>
                    <a:pt x="401" y="515"/>
                    <a:pt x="397" y="505"/>
                    <a:pt x="389" y="502"/>
                  </a:cubicBezTo>
                  <a:cubicBezTo>
                    <a:pt x="389" y="502"/>
                    <a:pt x="392" y="504"/>
                    <a:pt x="392" y="505"/>
                  </a:cubicBezTo>
                  <a:cubicBezTo>
                    <a:pt x="390" y="505"/>
                    <a:pt x="386" y="503"/>
                    <a:pt x="384" y="503"/>
                  </a:cubicBezTo>
                  <a:cubicBezTo>
                    <a:pt x="389" y="497"/>
                    <a:pt x="381" y="493"/>
                    <a:pt x="374" y="487"/>
                  </a:cubicBezTo>
                  <a:cubicBezTo>
                    <a:pt x="375" y="488"/>
                    <a:pt x="376" y="488"/>
                    <a:pt x="377" y="487"/>
                  </a:cubicBezTo>
                  <a:cubicBezTo>
                    <a:pt x="377" y="486"/>
                    <a:pt x="377" y="486"/>
                    <a:pt x="377" y="486"/>
                  </a:cubicBezTo>
                  <a:cubicBezTo>
                    <a:pt x="358" y="489"/>
                    <a:pt x="341" y="480"/>
                    <a:pt x="324" y="471"/>
                  </a:cubicBezTo>
                  <a:cubicBezTo>
                    <a:pt x="324" y="471"/>
                    <a:pt x="324" y="471"/>
                    <a:pt x="325" y="471"/>
                  </a:cubicBezTo>
                  <a:cubicBezTo>
                    <a:pt x="321" y="469"/>
                    <a:pt x="318" y="469"/>
                    <a:pt x="315" y="469"/>
                  </a:cubicBezTo>
                  <a:cubicBezTo>
                    <a:pt x="316" y="470"/>
                    <a:pt x="317" y="470"/>
                    <a:pt x="318" y="470"/>
                  </a:cubicBezTo>
                  <a:cubicBezTo>
                    <a:pt x="294" y="475"/>
                    <a:pt x="241" y="463"/>
                    <a:pt x="233" y="446"/>
                  </a:cubicBezTo>
                  <a:cubicBezTo>
                    <a:pt x="246" y="442"/>
                    <a:pt x="238" y="426"/>
                    <a:pt x="227" y="421"/>
                  </a:cubicBezTo>
                  <a:cubicBezTo>
                    <a:pt x="226" y="419"/>
                    <a:pt x="227" y="417"/>
                    <a:pt x="219" y="415"/>
                  </a:cubicBezTo>
                  <a:cubicBezTo>
                    <a:pt x="221" y="414"/>
                    <a:pt x="223" y="412"/>
                    <a:pt x="225" y="411"/>
                  </a:cubicBezTo>
                  <a:cubicBezTo>
                    <a:pt x="219" y="409"/>
                    <a:pt x="218" y="406"/>
                    <a:pt x="217" y="402"/>
                  </a:cubicBezTo>
                  <a:cubicBezTo>
                    <a:pt x="208" y="399"/>
                    <a:pt x="205" y="390"/>
                    <a:pt x="209" y="382"/>
                  </a:cubicBezTo>
                  <a:cubicBezTo>
                    <a:pt x="205" y="381"/>
                    <a:pt x="201" y="378"/>
                    <a:pt x="198" y="377"/>
                  </a:cubicBezTo>
                  <a:cubicBezTo>
                    <a:pt x="189" y="388"/>
                    <a:pt x="201" y="407"/>
                    <a:pt x="204" y="415"/>
                  </a:cubicBezTo>
                  <a:cubicBezTo>
                    <a:pt x="204" y="415"/>
                    <a:pt x="205" y="419"/>
                    <a:pt x="206" y="422"/>
                  </a:cubicBezTo>
                  <a:cubicBezTo>
                    <a:pt x="207" y="422"/>
                    <a:pt x="207" y="422"/>
                    <a:pt x="207" y="422"/>
                  </a:cubicBezTo>
                  <a:cubicBezTo>
                    <a:pt x="207" y="422"/>
                    <a:pt x="207" y="422"/>
                    <a:pt x="206" y="422"/>
                  </a:cubicBezTo>
                  <a:cubicBezTo>
                    <a:pt x="208" y="426"/>
                    <a:pt x="210" y="429"/>
                    <a:pt x="211" y="427"/>
                  </a:cubicBezTo>
                  <a:cubicBezTo>
                    <a:pt x="205" y="435"/>
                    <a:pt x="199" y="422"/>
                    <a:pt x="192" y="419"/>
                  </a:cubicBezTo>
                  <a:cubicBezTo>
                    <a:pt x="197" y="413"/>
                    <a:pt x="195" y="411"/>
                    <a:pt x="192" y="407"/>
                  </a:cubicBezTo>
                  <a:cubicBezTo>
                    <a:pt x="186" y="407"/>
                    <a:pt x="183" y="407"/>
                    <a:pt x="179" y="402"/>
                  </a:cubicBezTo>
                  <a:cubicBezTo>
                    <a:pt x="197" y="405"/>
                    <a:pt x="184" y="392"/>
                    <a:pt x="182" y="385"/>
                  </a:cubicBezTo>
                  <a:cubicBezTo>
                    <a:pt x="179" y="371"/>
                    <a:pt x="178" y="362"/>
                    <a:pt x="185" y="344"/>
                  </a:cubicBezTo>
                  <a:cubicBezTo>
                    <a:pt x="180" y="357"/>
                    <a:pt x="178" y="369"/>
                    <a:pt x="162" y="361"/>
                  </a:cubicBezTo>
                  <a:cubicBezTo>
                    <a:pt x="162" y="330"/>
                    <a:pt x="163" y="317"/>
                    <a:pt x="188" y="296"/>
                  </a:cubicBezTo>
                  <a:cubicBezTo>
                    <a:pt x="191" y="293"/>
                    <a:pt x="196" y="289"/>
                    <a:pt x="199" y="286"/>
                  </a:cubicBezTo>
                  <a:cubicBezTo>
                    <a:pt x="202" y="283"/>
                    <a:pt x="206" y="274"/>
                    <a:pt x="209" y="272"/>
                  </a:cubicBezTo>
                  <a:cubicBezTo>
                    <a:pt x="214" y="267"/>
                    <a:pt x="226" y="270"/>
                    <a:pt x="230" y="260"/>
                  </a:cubicBezTo>
                  <a:cubicBezTo>
                    <a:pt x="221" y="260"/>
                    <a:pt x="224" y="257"/>
                    <a:pt x="226" y="251"/>
                  </a:cubicBezTo>
                  <a:cubicBezTo>
                    <a:pt x="223" y="252"/>
                    <a:pt x="223" y="251"/>
                    <a:pt x="218" y="250"/>
                  </a:cubicBezTo>
                  <a:cubicBezTo>
                    <a:pt x="218" y="242"/>
                    <a:pt x="222" y="237"/>
                    <a:pt x="229" y="235"/>
                  </a:cubicBezTo>
                  <a:cubicBezTo>
                    <a:pt x="224" y="237"/>
                    <a:pt x="220" y="238"/>
                    <a:pt x="215" y="237"/>
                  </a:cubicBezTo>
                  <a:cubicBezTo>
                    <a:pt x="216" y="236"/>
                    <a:pt x="216" y="235"/>
                    <a:pt x="217" y="235"/>
                  </a:cubicBezTo>
                  <a:cubicBezTo>
                    <a:pt x="218" y="232"/>
                    <a:pt x="219" y="230"/>
                    <a:pt x="221" y="227"/>
                  </a:cubicBezTo>
                  <a:cubicBezTo>
                    <a:pt x="219" y="227"/>
                    <a:pt x="217" y="227"/>
                    <a:pt x="215" y="227"/>
                  </a:cubicBezTo>
                  <a:cubicBezTo>
                    <a:pt x="218" y="221"/>
                    <a:pt x="225" y="217"/>
                    <a:pt x="232" y="215"/>
                  </a:cubicBezTo>
                  <a:cubicBezTo>
                    <a:pt x="229" y="214"/>
                    <a:pt x="227" y="215"/>
                    <a:pt x="225" y="217"/>
                  </a:cubicBezTo>
                  <a:cubicBezTo>
                    <a:pt x="226" y="215"/>
                    <a:pt x="228" y="213"/>
                    <a:pt x="231" y="212"/>
                  </a:cubicBezTo>
                  <a:cubicBezTo>
                    <a:pt x="228" y="214"/>
                    <a:pt x="225" y="216"/>
                    <a:pt x="222" y="217"/>
                  </a:cubicBezTo>
                  <a:cubicBezTo>
                    <a:pt x="223" y="215"/>
                    <a:pt x="223" y="212"/>
                    <a:pt x="224" y="210"/>
                  </a:cubicBezTo>
                  <a:cubicBezTo>
                    <a:pt x="221" y="210"/>
                    <a:pt x="221" y="210"/>
                    <a:pt x="218" y="211"/>
                  </a:cubicBezTo>
                  <a:cubicBezTo>
                    <a:pt x="219" y="210"/>
                    <a:pt x="221" y="209"/>
                    <a:pt x="222" y="207"/>
                  </a:cubicBezTo>
                  <a:cubicBezTo>
                    <a:pt x="228" y="200"/>
                    <a:pt x="234" y="192"/>
                    <a:pt x="225" y="186"/>
                  </a:cubicBezTo>
                  <a:cubicBezTo>
                    <a:pt x="227" y="184"/>
                    <a:pt x="229" y="182"/>
                    <a:pt x="231" y="180"/>
                  </a:cubicBezTo>
                  <a:cubicBezTo>
                    <a:pt x="222" y="188"/>
                    <a:pt x="198" y="190"/>
                    <a:pt x="212" y="177"/>
                  </a:cubicBezTo>
                  <a:cubicBezTo>
                    <a:pt x="209" y="177"/>
                    <a:pt x="207" y="179"/>
                    <a:pt x="204" y="178"/>
                  </a:cubicBezTo>
                  <a:cubicBezTo>
                    <a:pt x="205" y="177"/>
                    <a:pt x="206" y="175"/>
                    <a:pt x="207" y="174"/>
                  </a:cubicBezTo>
                  <a:cubicBezTo>
                    <a:pt x="197" y="173"/>
                    <a:pt x="190" y="169"/>
                    <a:pt x="179" y="169"/>
                  </a:cubicBezTo>
                  <a:cubicBezTo>
                    <a:pt x="180" y="168"/>
                    <a:pt x="182" y="167"/>
                    <a:pt x="183" y="166"/>
                  </a:cubicBezTo>
                  <a:cubicBezTo>
                    <a:pt x="173" y="163"/>
                    <a:pt x="177" y="161"/>
                    <a:pt x="177" y="158"/>
                  </a:cubicBezTo>
                  <a:cubicBezTo>
                    <a:pt x="174" y="159"/>
                    <a:pt x="170" y="159"/>
                    <a:pt x="166" y="160"/>
                  </a:cubicBezTo>
                  <a:cubicBezTo>
                    <a:pt x="166" y="157"/>
                    <a:pt x="167" y="158"/>
                    <a:pt x="169" y="157"/>
                  </a:cubicBezTo>
                  <a:cubicBezTo>
                    <a:pt x="167" y="157"/>
                    <a:pt x="166" y="158"/>
                    <a:pt x="164" y="159"/>
                  </a:cubicBezTo>
                  <a:cubicBezTo>
                    <a:pt x="157" y="161"/>
                    <a:pt x="150" y="165"/>
                    <a:pt x="142" y="166"/>
                  </a:cubicBezTo>
                  <a:cubicBezTo>
                    <a:pt x="143" y="165"/>
                    <a:pt x="143" y="165"/>
                    <a:pt x="143" y="165"/>
                  </a:cubicBezTo>
                  <a:cubicBezTo>
                    <a:pt x="136" y="168"/>
                    <a:pt x="128" y="169"/>
                    <a:pt x="120" y="169"/>
                  </a:cubicBezTo>
                  <a:cubicBezTo>
                    <a:pt x="132" y="165"/>
                    <a:pt x="132" y="165"/>
                    <a:pt x="132" y="165"/>
                  </a:cubicBezTo>
                  <a:cubicBezTo>
                    <a:pt x="127" y="165"/>
                    <a:pt x="127" y="165"/>
                    <a:pt x="127" y="165"/>
                  </a:cubicBezTo>
                  <a:cubicBezTo>
                    <a:pt x="139" y="158"/>
                    <a:pt x="151" y="157"/>
                    <a:pt x="164" y="152"/>
                  </a:cubicBezTo>
                  <a:cubicBezTo>
                    <a:pt x="140" y="154"/>
                    <a:pt x="121" y="165"/>
                    <a:pt x="100" y="172"/>
                  </a:cubicBezTo>
                  <a:cubicBezTo>
                    <a:pt x="67" y="183"/>
                    <a:pt x="35" y="191"/>
                    <a:pt x="0" y="194"/>
                  </a:cubicBezTo>
                  <a:cubicBezTo>
                    <a:pt x="23" y="180"/>
                    <a:pt x="62" y="176"/>
                    <a:pt x="86" y="165"/>
                  </a:cubicBezTo>
                  <a:cubicBezTo>
                    <a:pt x="81" y="166"/>
                    <a:pt x="77" y="167"/>
                    <a:pt x="73" y="166"/>
                  </a:cubicBezTo>
                  <a:cubicBezTo>
                    <a:pt x="74" y="166"/>
                    <a:pt x="75" y="164"/>
                    <a:pt x="76" y="164"/>
                  </a:cubicBezTo>
                  <a:cubicBezTo>
                    <a:pt x="70" y="166"/>
                    <a:pt x="66" y="165"/>
                    <a:pt x="61" y="165"/>
                  </a:cubicBezTo>
                  <a:cubicBezTo>
                    <a:pt x="61" y="165"/>
                    <a:pt x="60" y="165"/>
                    <a:pt x="60" y="165"/>
                  </a:cubicBezTo>
                  <a:cubicBezTo>
                    <a:pt x="60" y="165"/>
                    <a:pt x="59" y="165"/>
                    <a:pt x="60" y="165"/>
                  </a:cubicBezTo>
                  <a:cubicBezTo>
                    <a:pt x="59" y="165"/>
                    <a:pt x="58" y="165"/>
                    <a:pt x="57" y="165"/>
                  </a:cubicBezTo>
                  <a:cubicBezTo>
                    <a:pt x="56" y="165"/>
                    <a:pt x="54" y="165"/>
                    <a:pt x="53" y="165"/>
                  </a:cubicBezTo>
                  <a:cubicBezTo>
                    <a:pt x="60" y="159"/>
                    <a:pt x="67" y="152"/>
                    <a:pt x="75" y="148"/>
                  </a:cubicBezTo>
                  <a:cubicBezTo>
                    <a:pt x="66" y="151"/>
                    <a:pt x="60" y="155"/>
                    <a:pt x="51" y="152"/>
                  </a:cubicBezTo>
                  <a:cubicBezTo>
                    <a:pt x="55" y="147"/>
                    <a:pt x="61" y="144"/>
                    <a:pt x="68" y="143"/>
                  </a:cubicBezTo>
                  <a:cubicBezTo>
                    <a:pt x="65" y="141"/>
                    <a:pt x="62" y="139"/>
                    <a:pt x="59" y="138"/>
                  </a:cubicBezTo>
                  <a:cubicBezTo>
                    <a:pt x="68" y="133"/>
                    <a:pt x="77" y="130"/>
                    <a:pt x="87" y="128"/>
                  </a:cubicBezTo>
                  <a:cubicBezTo>
                    <a:pt x="86" y="127"/>
                    <a:pt x="87" y="126"/>
                    <a:pt x="93" y="125"/>
                  </a:cubicBezTo>
                  <a:cubicBezTo>
                    <a:pt x="92" y="126"/>
                    <a:pt x="91" y="127"/>
                    <a:pt x="90" y="127"/>
                  </a:cubicBezTo>
                  <a:cubicBezTo>
                    <a:pt x="93" y="127"/>
                    <a:pt x="95" y="126"/>
                    <a:pt x="97" y="126"/>
                  </a:cubicBezTo>
                  <a:cubicBezTo>
                    <a:pt x="114" y="123"/>
                    <a:pt x="126" y="119"/>
                    <a:pt x="140" y="113"/>
                  </a:cubicBezTo>
                  <a:cubicBezTo>
                    <a:pt x="134" y="113"/>
                    <a:pt x="128" y="113"/>
                    <a:pt x="122" y="116"/>
                  </a:cubicBezTo>
                  <a:cubicBezTo>
                    <a:pt x="120" y="113"/>
                    <a:pt x="110" y="114"/>
                    <a:pt x="103" y="111"/>
                  </a:cubicBezTo>
                  <a:cubicBezTo>
                    <a:pt x="107" y="105"/>
                    <a:pt x="112" y="103"/>
                    <a:pt x="119" y="106"/>
                  </a:cubicBezTo>
                  <a:cubicBezTo>
                    <a:pt x="115" y="105"/>
                    <a:pt x="112" y="102"/>
                    <a:pt x="109" y="100"/>
                  </a:cubicBezTo>
                  <a:cubicBezTo>
                    <a:pt x="120" y="96"/>
                    <a:pt x="138" y="93"/>
                    <a:pt x="149" y="95"/>
                  </a:cubicBezTo>
                  <a:cubicBezTo>
                    <a:pt x="148" y="96"/>
                    <a:pt x="146" y="97"/>
                    <a:pt x="145" y="98"/>
                  </a:cubicBezTo>
                  <a:cubicBezTo>
                    <a:pt x="153" y="100"/>
                    <a:pt x="160" y="104"/>
                    <a:pt x="162" y="98"/>
                  </a:cubicBezTo>
                  <a:cubicBezTo>
                    <a:pt x="167" y="99"/>
                    <a:pt x="170" y="101"/>
                    <a:pt x="175" y="98"/>
                  </a:cubicBezTo>
                  <a:cubicBezTo>
                    <a:pt x="167" y="96"/>
                    <a:pt x="166" y="94"/>
                    <a:pt x="160" y="90"/>
                  </a:cubicBezTo>
                  <a:cubicBezTo>
                    <a:pt x="167" y="84"/>
                    <a:pt x="164" y="78"/>
                    <a:pt x="170" y="74"/>
                  </a:cubicBezTo>
                  <a:cubicBezTo>
                    <a:pt x="178" y="69"/>
                    <a:pt x="182" y="74"/>
                    <a:pt x="189" y="73"/>
                  </a:cubicBezTo>
                  <a:cubicBezTo>
                    <a:pt x="203" y="71"/>
                    <a:pt x="216" y="64"/>
                    <a:pt x="229" y="64"/>
                  </a:cubicBezTo>
                  <a:cubicBezTo>
                    <a:pt x="227" y="63"/>
                    <a:pt x="227" y="63"/>
                    <a:pt x="227" y="63"/>
                  </a:cubicBezTo>
                  <a:cubicBezTo>
                    <a:pt x="231" y="63"/>
                    <a:pt x="234" y="63"/>
                    <a:pt x="237" y="63"/>
                  </a:cubicBezTo>
                  <a:cubicBezTo>
                    <a:pt x="236" y="64"/>
                    <a:pt x="235" y="65"/>
                    <a:pt x="234" y="66"/>
                  </a:cubicBezTo>
                  <a:cubicBezTo>
                    <a:pt x="246" y="57"/>
                    <a:pt x="260" y="63"/>
                    <a:pt x="274" y="58"/>
                  </a:cubicBezTo>
                  <a:cubicBezTo>
                    <a:pt x="270" y="60"/>
                    <a:pt x="266" y="64"/>
                    <a:pt x="265" y="65"/>
                  </a:cubicBezTo>
                  <a:cubicBezTo>
                    <a:pt x="274" y="59"/>
                    <a:pt x="285" y="64"/>
                    <a:pt x="283" y="74"/>
                  </a:cubicBezTo>
                  <a:cubicBezTo>
                    <a:pt x="287" y="74"/>
                    <a:pt x="291" y="74"/>
                    <a:pt x="295" y="73"/>
                  </a:cubicBezTo>
                  <a:cubicBezTo>
                    <a:pt x="293" y="76"/>
                    <a:pt x="290" y="76"/>
                    <a:pt x="287" y="77"/>
                  </a:cubicBezTo>
                  <a:cubicBezTo>
                    <a:pt x="308" y="70"/>
                    <a:pt x="340" y="93"/>
                    <a:pt x="345" y="106"/>
                  </a:cubicBezTo>
                  <a:cubicBezTo>
                    <a:pt x="357" y="96"/>
                    <a:pt x="375" y="98"/>
                    <a:pt x="391" y="94"/>
                  </a:cubicBezTo>
                  <a:cubicBezTo>
                    <a:pt x="391" y="95"/>
                    <a:pt x="391" y="96"/>
                    <a:pt x="392" y="97"/>
                  </a:cubicBezTo>
                  <a:cubicBezTo>
                    <a:pt x="380" y="98"/>
                    <a:pt x="369" y="98"/>
                    <a:pt x="359" y="104"/>
                  </a:cubicBezTo>
                  <a:cubicBezTo>
                    <a:pt x="366" y="102"/>
                    <a:pt x="373" y="100"/>
                    <a:pt x="380" y="99"/>
                  </a:cubicBezTo>
                  <a:cubicBezTo>
                    <a:pt x="378" y="101"/>
                    <a:pt x="378" y="101"/>
                    <a:pt x="378" y="101"/>
                  </a:cubicBezTo>
                  <a:cubicBezTo>
                    <a:pt x="390" y="96"/>
                    <a:pt x="404" y="100"/>
                    <a:pt x="413" y="92"/>
                  </a:cubicBezTo>
                  <a:cubicBezTo>
                    <a:pt x="404" y="104"/>
                    <a:pt x="409" y="110"/>
                    <a:pt x="421" y="101"/>
                  </a:cubicBezTo>
                  <a:cubicBezTo>
                    <a:pt x="420" y="103"/>
                    <a:pt x="419" y="105"/>
                    <a:pt x="418" y="107"/>
                  </a:cubicBezTo>
                  <a:cubicBezTo>
                    <a:pt x="435" y="99"/>
                    <a:pt x="444" y="118"/>
                    <a:pt x="461" y="118"/>
                  </a:cubicBezTo>
                  <a:cubicBezTo>
                    <a:pt x="458" y="121"/>
                    <a:pt x="456" y="125"/>
                    <a:pt x="452" y="128"/>
                  </a:cubicBezTo>
                  <a:cubicBezTo>
                    <a:pt x="470" y="134"/>
                    <a:pt x="485" y="123"/>
                    <a:pt x="480" y="146"/>
                  </a:cubicBezTo>
                  <a:cubicBezTo>
                    <a:pt x="484" y="133"/>
                    <a:pt x="501" y="128"/>
                    <a:pt x="514" y="127"/>
                  </a:cubicBezTo>
                  <a:cubicBezTo>
                    <a:pt x="509" y="127"/>
                    <a:pt x="504" y="126"/>
                    <a:pt x="499" y="124"/>
                  </a:cubicBezTo>
                  <a:cubicBezTo>
                    <a:pt x="516" y="120"/>
                    <a:pt x="516" y="134"/>
                    <a:pt x="532" y="138"/>
                  </a:cubicBezTo>
                  <a:cubicBezTo>
                    <a:pt x="539" y="139"/>
                    <a:pt x="549" y="138"/>
                    <a:pt x="555" y="139"/>
                  </a:cubicBezTo>
                  <a:cubicBezTo>
                    <a:pt x="554" y="137"/>
                    <a:pt x="551" y="139"/>
                    <a:pt x="552" y="136"/>
                  </a:cubicBezTo>
                  <a:cubicBezTo>
                    <a:pt x="556" y="136"/>
                    <a:pt x="561" y="138"/>
                    <a:pt x="564" y="139"/>
                  </a:cubicBezTo>
                  <a:cubicBezTo>
                    <a:pt x="558" y="141"/>
                    <a:pt x="558" y="145"/>
                    <a:pt x="554" y="150"/>
                  </a:cubicBezTo>
                  <a:cubicBezTo>
                    <a:pt x="564" y="141"/>
                    <a:pt x="582" y="131"/>
                    <a:pt x="594" y="128"/>
                  </a:cubicBezTo>
                  <a:cubicBezTo>
                    <a:pt x="589" y="127"/>
                    <a:pt x="586" y="125"/>
                    <a:pt x="584" y="119"/>
                  </a:cubicBezTo>
                  <a:cubicBezTo>
                    <a:pt x="589" y="115"/>
                    <a:pt x="602" y="105"/>
                    <a:pt x="608" y="106"/>
                  </a:cubicBezTo>
                  <a:cubicBezTo>
                    <a:pt x="619" y="108"/>
                    <a:pt x="615" y="121"/>
                    <a:pt x="603" y="126"/>
                  </a:cubicBezTo>
                  <a:cubicBezTo>
                    <a:pt x="612" y="132"/>
                    <a:pt x="605" y="131"/>
                    <a:pt x="603" y="137"/>
                  </a:cubicBezTo>
                  <a:cubicBezTo>
                    <a:pt x="621" y="126"/>
                    <a:pt x="618" y="139"/>
                    <a:pt x="613" y="149"/>
                  </a:cubicBezTo>
                  <a:cubicBezTo>
                    <a:pt x="630" y="144"/>
                    <a:pt x="647" y="121"/>
                    <a:pt x="664" y="136"/>
                  </a:cubicBezTo>
                  <a:cubicBezTo>
                    <a:pt x="649" y="148"/>
                    <a:pt x="649" y="154"/>
                    <a:pt x="629" y="158"/>
                  </a:cubicBezTo>
                  <a:cubicBezTo>
                    <a:pt x="629" y="157"/>
                    <a:pt x="630" y="155"/>
                    <a:pt x="630" y="154"/>
                  </a:cubicBezTo>
                  <a:cubicBezTo>
                    <a:pt x="630" y="154"/>
                    <a:pt x="625" y="154"/>
                    <a:pt x="625" y="153"/>
                  </a:cubicBezTo>
                  <a:cubicBezTo>
                    <a:pt x="624" y="157"/>
                    <a:pt x="621" y="159"/>
                    <a:pt x="616" y="160"/>
                  </a:cubicBezTo>
                  <a:cubicBezTo>
                    <a:pt x="618" y="161"/>
                    <a:pt x="616" y="161"/>
                    <a:pt x="615" y="163"/>
                  </a:cubicBezTo>
                  <a:cubicBezTo>
                    <a:pt x="615" y="163"/>
                    <a:pt x="615" y="162"/>
                    <a:pt x="616" y="160"/>
                  </a:cubicBezTo>
                  <a:cubicBezTo>
                    <a:pt x="607" y="162"/>
                    <a:pt x="594" y="161"/>
                    <a:pt x="584" y="159"/>
                  </a:cubicBezTo>
                  <a:cubicBezTo>
                    <a:pt x="586" y="165"/>
                    <a:pt x="590" y="166"/>
                    <a:pt x="597" y="166"/>
                  </a:cubicBezTo>
                  <a:cubicBezTo>
                    <a:pt x="588" y="171"/>
                    <a:pt x="577" y="177"/>
                    <a:pt x="568" y="171"/>
                  </a:cubicBezTo>
                  <a:cubicBezTo>
                    <a:pt x="564" y="179"/>
                    <a:pt x="552" y="172"/>
                    <a:pt x="546" y="172"/>
                  </a:cubicBezTo>
                  <a:cubicBezTo>
                    <a:pt x="553" y="173"/>
                    <a:pt x="553" y="175"/>
                    <a:pt x="558" y="178"/>
                  </a:cubicBezTo>
                  <a:cubicBezTo>
                    <a:pt x="554" y="182"/>
                    <a:pt x="549" y="181"/>
                    <a:pt x="545" y="178"/>
                  </a:cubicBezTo>
                  <a:cubicBezTo>
                    <a:pt x="545" y="180"/>
                    <a:pt x="544" y="181"/>
                    <a:pt x="546" y="183"/>
                  </a:cubicBezTo>
                  <a:cubicBezTo>
                    <a:pt x="535" y="184"/>
                    <a:pt x="522" y="190"/>
                    <a:pt x="513" y="197"/>
                  </a:cubicBezTo>
                  <a:cubicBezTo>
                    <a:pt x="507" y="202"/>
                    <a:pt x="503" y="210"/>
                    <a:pt x="497" y="213"/>
                  </a:cubicBezTo>
                  <a:cubicBezTo>
                    <a:pt x="501" y="212"/>
                    <a:pt x="505" y="211"/>
                    <a:pt x="508" y="210"/>
                  </a:cubicBezTo>
                  <a:cubicBezTo>
                    <a:pt x="509" y="218"/>
                    <a:pt x="506" y="222"/>
                    <a:pt x="498" y="223"/>
                  </a:cubicBezTo>
                  <a:cubicBezTo>
                    <a:pt x="522" y="220"/>
                    <a:pt x="542" y="235"/>
                    <a:pt x="565" y="240"/>
                  </a:cubicBezTo>
                  <a:cubicBezTo>
                    <a:pt x="563" y="243"/>
                    <a:pt x="557" y="247"/>
                    <a:pt x="557" y="250"/>
                  </a:cubicBezTo>
                  <a:cubicBezTo>
                    <a:pt x="557" y="251"/>
                    <a:pt x="557" y="253"/>
                    <a:pt x="557" y="254"/>
                  </a:cubicBezTo>
                  <a:cubicBezTo>
                    <a:pt x="561" y="253"/>
                    <a:pt x="561" y="253"/>
                    <a:pt x="565" y="255"/>
                  </a:cubicBezTo>
                  <a:cubicBezTo>
                    <a:pt x="563" y="255"/>
                    <a:pt x="561" y="254"/>
                    <a:pt x="560" y="254"/>
                  </a:cubicBezTo>
                  <a:cubicBezTo>
                    <a:pt x="560" y="255"/>
                    <a:pt x="558" y="255"/>
                    <a:pt x="557" y="254"/>
                  </a:cubicBezTo>
                  <a:cubicBezTo>
                    <a:pt x="557" y="259"/>
                    <a:pt x="558" y="263"/>
                    <a:pt x="555" y="266"/>
                  </a:cubicBezTo>
                  <a:cubicBezTo>
                    <a:pt x="562" y="262"/>
                    <a:pt x="569" y="263"/>
                    <a:pt x="574" y="268"/>
                  </a:cubicBezTo>
                  <a:cubicBezTo>
                    <a:pt x="573" y="264"/>
                    <a:pt x="575" y="259"/>
                    <a:pt x="578" y="253"/>
                  </a:cubicBezTo>
                  <a:cubicBezTo>
                    <a:pt x="586" y="241"/>
                    <a:pt x="584" y="246"/>
                    <a:pt x="596" y="240"/>
                  </a:cubicBezTo>
                  <a:cubicBezTo>
                    <a:pt x="607" y="234"/>
                    <a:pt x="623" y="230"/>
                    <a:pt x="611" y="215"/>
                  </a:cubicBezTo>
                  <a:cubicBezTo>
                    <a:pt x="619" y="212"/>
                    <a:pt x="631" y="209"/>
                    <a:pt x="626" y="202"/>
                  </a:cubicBezTo>
                  <a:cubicBezTo>
                    <a:pt x="634" y="193"/>
                    <a:pt x="673" y="183"/>
                    <a:pt x="672" y="201"/>
                  </a:cubicBezTo>
                  <a:cubicBezTo>
                    <a:pt x="677" y="201"/>
                    <a:pt x="683" y="204"/>
                    <a:pt x="685" y="204"/>
                  </a:cubicBezTo>
                  <a:cubicBezTo>
                    <a:pt x="682" y="209"/>
                    <a:pt x="677" y="211"/>
                    <a:pt x="671" y="209"/>
                  </a:cubicBezTo>
                  <a:cubicBezTo>
                    <a:pt x="673" y="210"/>
                    <a:pt x="676" y="211"/>
                    <a:pt x="679" y="212"/>
                  </a:cubicBezTo>
                  <a:cubicBezTo>
                    <a:pt x="675" y="214"/>
                    <a:pt x="677" y="217"/>
                    <a:pt x="677" y="217"/>
                  </a:cubicBezTo>
                  <a:cubicBezTo>
                    <a:pt x="674" y="217"/>
                    <a:pt x="674" y="217"/>
                    <a:pt x="674" y="217"/>
                  </a:cubicBezTo>
                  <a:cubicBezTo>
                    <a:pt x="677" y="221"/>
                    <a:pt x="678" y="225"/>
                    <a:pt x="683" y="221"/>
                  </a:cubicBezTo>
                  <a:cubicBezTo>
                    <a:pt x="690" y="229"/>
                    <a:pt x="705" y="215"/>
                    <a:pt x="714" y="208"/>
                  </a:cubicBezTo>
                  <a:cubicBezTo>
                    <a:pt x="716" y="215"/>
                    <a:pt x="717" y="224"/>
                    <a:pt x="717" y="224"/>
                  </a:cubicBezTo>
                  <a:cubicBezTo>
                    <a:pt x="713" y="226"/>
                    <a:pt x="713" y="226"/>
                    <a:pt x="713" y="226"/>
                  </a:cubicBezTo>
                  <a:cubicBezTo>
                    <a:pt x="733" y="231"/>
                    <a:pt x="701" y="239"/>
                    <a:pt x="724" y="242"/>
                  </a:cubicBezTo>
                  <a:cubicBezTo>
                    <a:pt x="723" y="244"/>
                    <a:pt x="721" y="245"/>
                    <a:pt x="720" y="246"/>
                  </a:cubicBezTo>
                  <a:cubicBezTo>
                    <a:pt x="729" y="246"/>
                    <a:pt x="733" y="246"/>
                    <a:pt x="741" y="250"/>
                  </a:cubicBezTo>
                  <a:cubicBezTo>
                    <a:pt x="736" y="252"/>
                    <a:pt x="729" y="253"/>
                    <a:pt x="724" y="253"/>
                  </a:cubicBezTo>
                  <a:cubicBezTo>
                    <a:pt x="726" y="253"/>
                    <a:pt x="728" y="253"/>
                    <a:pt x="730" y="253"/>
                  </a:cubicBezTo>
                  <a:cubicBezTo>
                    <a:pt x="725" y="253"/>
                    <a:pt x="721" y="255"/>
                    <a:pt x="716" y="255"/>
                  </a:cubicBezTo>
                  <a:cubicBezTo>
                    <a:pt x="723" y="257"/>
                    <a:pt x="739" y="249"/>
                    <a:pt x="739" y="256"/>
                  </a:cubicBezTo>
                  <a:cubicBezTo>
                    <a:pt x="743" y="256"/>
                    <a:pt x="745" y="256"/>
                    <a:pt x="749" y="259"/>
                  </a:cubicBezTo>
                  <a:cubicBezTo>
                    <a:pt x="734" y="283"/>
                    <a:pt x="693" y="273"/>
                    <a:pt x="670" y="275"/>
                  </a:cubicBezTo>
                  <a:cubicBezTo>
                    <a:pt x="647" y="277"/>
                    <a:pt x="629" y="289"/>
                    <a:pt x="608" y="296"/>
                  </a:cubicBezTo>
                  <a:cubicBezTo>
                    <a:pt x="628" y="293"/>
                    <a:pt x="647" y="277"/>
                    <a:pt x="669" y="284"/>
                  </a:cubicBezTo>
                  <a:cubicBezTo>
                    <a:pt x="666" y="288"/>
                    <a:pt x="659" y="290"/>
                    <a:pt x="651" y="289"/>
                  </a:cubicBezTo>
                  <a:cubicBezTo>
                    <a:pt x="660" y="291"/>
                    <a:pt x="660" y="298"/>
                    <a:pt x="666" y="302"/>
                  </a:cubicBezTo>
                  <a:cubicBezTo>
                    <a:pt x="669" y="304"/>
                    <a:pt x="679" y="304"/>
                    <a:pt x="682" y="304"/>
                  </a:cubicBezTo>
                  <a:cubicBezTo>
                    <a:pt x="671" y="309"/>
                    <a:pt x="652" y="315"/>
                    <a:pt x="641" y="310"/>
                  </a:cubicBezTo>
                  <a:cubicBezTo>
                    <a:pt x="648" y="307"/>
                    <a:pt x="655" y="305"/>
                    <a:pt x="663" y="305"/>
                  </a:cubicBezTo>
                  <a:cubicBezTo>
                    <a:pt x="660" y="305"/>
                    <a:pt x="658" y="305"/>
                    <a:pt x="655" y="304"/>
                  </a:cubicBezTo>
                  <a:cubicBezTo>
                    <a:pt x="659" y="302"/>
                    <a:pt x="659" y="302"/>
                    <a:pt x="659" y="302"/>
                  </a:cubicBezTo>
                  <a:cubicBezTo>
                    <a:pt x="651" y="305"/>
                    <a:pt x="642" y="306"/>
                    <a:pt x="634" y="305"/>
                  </a:cubicBezTo>
                  <a:cubicBezTo>
                    <a:pt x="637" y="306"/>
                    <a:pt x="637" y="306"/>
                    <a:pt x="637" y="306"/>
                  </a:cubicBezTo>
                  <a:cubicBezTo>
                    <a:pt x="624" y="307"/>
                    <a:pt x="605" y="312"/>
                    <a:pt x="597" y="322"/>
                  </a:cubicBezTo>
                  <a:cubicBezTo>
                    <a:pt x="599" y="325"/>
                    <a:pt x="600" y="324"/>
                    <a:pt x="603" y="324"/>
                  </a:cubicBezTo>
                  <a:cubicBezTo>
                    <a:pt x="592" y="325"/>
                    <a:pt x="583" y="327"/>
                    <a:pt x="575" y="331"/>
                  </a:cubicBezTo>
                  <a:cubicBezTo>
                    <a:pt x="578" y="330"/>
                    <a:pt x="581" y="330"/>
                    <a:pt x="581" y="330"/>
                  </a:cubicBezTo>
                  <a:cubicBezTo>
                    <a:pt x="582" y="329"/>
                    <a:pt x="582" y="329"/>
                    <a:pt x="583" y="330"/>
                  </a:cubicBezTo>
                  <a:cubicBezTo>
                    <a:pt x="580" y="330"/>
                    <a:pt x="577" y="331"/>
                    <a:pt x="574" y="331"/>
                  </a:cubicBezTo>
                  <a:cubicBezTo>
                    <a:pt x="563" y="335"/>
                    <a:pt x="553" y="342"/>
                    <a:pt x="541" y="351"/>
                  </a:cubicBezTo>
                  <a:cubicBezTo>
                    <a:pt x="541" y="348"/>
                    <a:pt x="541" y="343"/>
                    <a:pt x="542" y="340"/>
                  </a:cubicBezTo>
                  <a:cubicBezTo>
                    <a:pt x="540" y="343"/>
                    <a:pt x="536" y="345"/>
                    <a:pt x="536" y="345"/>
                  </a:cubicBezTo>
                  <a:cubicBezTo>
                    <a:pt x="536" y="351"/>
                    <a:pt x="537" y="355"/>
                    <a:pt x="529" y="359"/>
                  </a:cubicBezTo>
                  <a:cubicBezTo>
                    <a:pt x="532" y="360"/>
                    <a:pt x="532" y="360"/>
                    <a:pt x="534" y="361"/>
                  </a:cubicBezTo>
                  <a:cubicBezTo>
                    <a:pt x="519" y="369"/>
                    <a:pt x="493" y="371"/>
                    <a:pt x="480" y="382"/>
                  </a:cubicBezTo>
                  <a:cubicBezTo>
                    <a:pt x="471" y="391"/>
                    <a:pt x="477" y="395"/>
                    <a:pt x="473" y="405"/>
                  </a:cubicBezTo>
                  <a:cubicBezTo>
                    <a:pt x="469" y="416"/>
                    <a:pt x="466" y="422"/>
                    <a:pt x="456" y="409"/>
                  </a:cubicBezTo>
                  <a:cubicBezTo>
                    <a:pt x="452" y="403"/>
                    <a:pt x="460" y="399"/>
                    <a:pt x="452" y="392"/>
                  </a:cubicBezTo>
                  <a:cubicBezTo>
                    <a:pt x="451" y="392"/>
                    <a:pt x="440" y="392"/>
                    <a:pt x="437" y="392"/>
                  </a:cubicBezTo>
                  <a:cubicBezTo>
                    <a:pt x="436" y="391"/>
                    <a:pt x="436" y="391"/>
                    <a:pt x="436" y="390"/>
                  </a:cubicBezTo>
                  <a:cubicBezTo>
                    <a:pt x="435" y="391"/>
                    <a:pt x="431" y="391"/>
                    <a:pt x="429" y="390"/>
                  </a:cubicBezTo>
                  <a:cubicBezTo>
                    <a:pt x="430" y="390"/>
                    <a:pt x="431" y="390"/>
                    <a:pt x="432" y="390"/>
                  </a:cubicBezTo>
                  <a:cubicBezTo>
                    <a:pt x="419" y="391"/>
                    <a:pt x="413" y="388"/>
                    <a:pt x="400" y="393"/>
                  </a:cubicBezTo>
                  <a:cubicBezTo>
                    <a:pt x="401" y="393"/>
                    <a:pt x="402" y="393"/>
                    <a:pt x="403" y="393"/>
                  </a:cubicBezTo>
                  <a:cubicBezTo>
                    <a:pt x="399" y="396"/>
                    <a:pt x="401" y="398"/>
                    <a:pt x="402" y="398"/>
                  </a:cubicBezTo>
                  <a:cubicBezTo>
                    <a:pt x="397" y="395"/>
                    <a:pt x="393" y="396"/>
                    <a:pt x="385" y="397"/>
                  </a:cubicBezTo>
                  <a:cubicBezTo>
                    <a:pt x="385" y="396"/>
                    <a:pt x="386" y="396"/>
                    <a:pt x="387" y="396"/>
                  </a:cubicBezTo>
                  <a:cubicBezTo>
                    <a:pt x="382" y="393"/>
                    <a:pt x="367" y="392"/>
                    <a:pt x="357" y="395"/>
                  </a:cubicBezTo>
                  <a:cubicBezTo>
                    <a:pt x="357" y="396"/>
                    <a:pt x="358" y="394"/>
                    <a:pt x="359" y="393"/>
                  </a:cubicBezTo>
                  <a:cubicBezTo>
                    <a:pt x="358" y="393"/>
                    <a:pt x="356" y="394"/>
                    <a:pt x="355" y="393"/>
                  </a:cubicBezTo>
                  <a:cubicBezTo>
                    <a:pt x="353" y="397"/>
                    <a:pt x="348" y="400"/>
                    <a:pt x="341" y="400"/>
                  </a:cubicBezTo>
                  <a:cubicBezTo>
                    <a:pt x="337" y="397"/>
                    <a:pt x="326" y="406"/>
                    <a:pt x="321" y="416"/>
                  </a:cubicBezTo>
                  <a:cubicBezTo>
                    <a:pt x="323" y="415"/>
                    <a:pt x="324" y="415"/>
                    <a:pt x="326" y="414"/>
                  </a:cubicBezTo>
                  <a:cubicBezTo>
                    <a:pt x="323" y="415"/>
                    <a:pt x="322" y="418"/>
                    <a:pt x="319" y="419"/>
                  </a:cubicBezTo>
                  <a:cubicBezTo>
                    <a:pt x="320" y="419"/>
                    <a:pt x="320" y="418"/>
                    <a:pt x="320" y="418"/>
                  </a:cubicBezTo>
                  <a:cubicBezTo>
                    <a:pt x="315" y="421"/>
                    <a:pt x="308" y="432"/>
                    <a:pt x="309" y="441"/>
                  </a:cubicBezTo>
                  <a:cubicBezTo>
                    <a:pt x="308" y="440"/>
                    <a:pt x="310" y="436"/>
                    <a:pt x="307" y="439"/>
                  </a:cubicBezTo>
                  <a:cubicBezTo>
                    <a:pt x="314" y="463"/>
                    <a:pt x="330" y="455"/>
                    <a:pt x="351" y="456"/>
                  </a:cubicBezTo>
                  <a:cubicBezTo>
                    <a:pt x="350" y="462"/>
                    <a:pt x="367" y="447"/>
                    <a:pt x="372" y="443"/>
                  </a:cubicBezTo>
                  <a:cubicBezTo>
                    <a:pt x="376" y="441"/>
                    <a:pt x="395" y="438"/>
                    <a:pt x="403" y="441"/>
                  </a:cubicBezTo>
                  <a:cubicBezTo>
                    <a:pt x="397" y="445"/>
                    <a:pt x="390" y="450"/>
                    <a:pt x="389" y="453"/>
                  </a:cubicBezTo>
                  <a:cubicBezTo>
                    <a:pt x="388" y="455"/>
                    <a:pt x="388" y="458"/>
                    <a:pt x="383" y="457"/>
                  </a:cubicBezTo>
                  <a:cubicBezTo>
                    <a:pt x="383" y="457"/>
                    <a:pt x="384" y="456"/>
                    <a:pt x="384" y="455"/>
                  </a:cubicBezTo>
                  <a:cubicBezTo>
                    <a:pt x="383" y="456"/>
                    <a:pt x="380" y="458"/>
                    <a:pt x="379" y="457"/>
                  </a:cubicBezTo>
                  <a:cubicBezTo>
                    <a:pt x="382" y="462"/>
                    <a:pt x="376" y="469"/>
                    <a:pt x="369" y="471"/>
                  </a:cubicBezTo>
                  <a:cubicBezTo>
                    <a:pt x="383" y="473"/>
                    <a:pt x="398" y="471"/>
                    <a:pt x="413" y="473"/>
                  </a:cubicBezTo>
                  <a:cubicBezTo>
                    <a:pt x="411" y="473"/>
                    <a:pt x="410" y="473"/>
                    <a:pt x="408" y="473"/>
                  </a:cubicBezTo>
                  <a:cubicBezTo>
                    <a:pt x="411" y="473"/>
                    <a:pt x="416" y="474"/>
                    <a:pt x="417" y="474"/>
                  </a:cubicBezTo>
                  <a:cubicBezTo>
                    <a:pt x="414" y="482"/>
                    <a:pt x="413" y="485"/>
                    <a:pt x="409" y="491"/>
                  </a:cubicBezTo>
                  <a:cubicBezTo>
                    <a:pt x="409" y="491"/>
                    <a:pt x="409" y="490"/>
                    <a:pt x="409" y="489"/>
                  </a:cubicBezTo>
                  <a:cubicBezTo>
                    <a:pt x="405" y="493"/>
                    <a:pt x="407" y="493"/>
                    <a:pt x="407" y="493"/>
                  </a:cubicBezTo>
                  <a:cubicBezTo>
                    <a:pt x="405" y="496"/>
                    <a:pt x="404" y="497"/>
                    <a:pt x="404" y="499"/>
                  </a:cubicBezTo>
                  <a:cubicBezTo>
                    <a:pt x="406" y="500"/>
                    <a:pt x="407" y="502"/>
                    <a:pt x="407" y="504"/>
                  </a:cubicBezTo>
                  <a:cubicBezTo>
                    <a:pt x="407" y="503"/>
                    <a:pt x="408" y="503"/>
                    <a:pt x="408" y="502"/>
                  </a:cubicBezTo>
                  <a:cubicBezTo>
                    <a:pt x="419" y="513"/>
                    <a:pt x="449" y="497"/>
                    <a:pt x="456" y="512"/>
                  </a:cubicBezTo>
                  <a:cubicBezTo>
                    <a:pt x="458" y="513"/>
                    <a:pt x="459" y="511"/>
                    <a:pt x="460" y="515"/>
                  </a:cubicBezTo>
                  <a:cubicBezTo>
                    <a:pt x="468" y="499"/>
                    <a:pt x="500" y="493"/>
                    <a:pt x="520" y="491"/>
                  </a:cubicBezTo>
                  <a:cubicBezTo>
                    <a:pt x="517" y="493"/>
                    <a:pt x="516" y="495"/>
                    <a:pt x="512" y="495"/>
                  </a:cubicBezTo>
                  <a:cubicBezTo>
                    <a:pt x="510" y="499"/>
                    <a:pt x="509" y="505"/>
                    <a:pt x="508" y="509"/>
                  </a:cubicBezTo>
                  <a:cubicBezTo>
                    <a:pt x="516" y="503"/>
                    <a:pt x="518" y="497"/>
                    <a:pt x="530" y="495"/>
                  </a:cubicBezTo>
                  <a:cubicBezTo>
                    <a:pt x="529" y="494"/>
                    <a:pt x="527" y="493"/>
                    <a:pt x="526" y="493"/>
                  </a:cubicBezTo>
                  <a:cubicBezTo>
                    <a:pt x="535" y="492"/>
                    <a:pt x="547" y="499"/>
                    <a:pt x="558" y="500"/>
                  </a:cubicBezTo>
                  <a:cubicBezTo>
                    <a:pt x="572" y="502"/>
                    <a:pt x="585" y="498"/>
                    <a:pt x="600" y="499"/>
                  </a:cubicBezTo>
                  <a:cubicBezTo>
                    <a:pt x="597" y="500"/>
                    <a:pt x="594" y="501"/>
                    <a:pt x="591" y="501"/>
                  </a:cubicBezTo>
                  <a:cubicBezTo>
                    <a:pt x="595" y="502"/>
                    <a:pt x="599" y="506"/>
                    <a:pt x="605" y="506"/>
                  </a:cubicBezTo>
                  <a:cubicBezTo>
                    <a:pt x="604" y="510"/>
                    <a:pt x="602" y="509"/>
                    <a:pt x="599" y="511"/>
                  </a:cubicBezTo>
                  <a:cubicBezTo>
                    <a:pt x="609" y="510"/>
                    <a:pt x="626" y="511"/>
                    <a:pt x="624" y="523"/>
                  </a:cubicBezTo>
                  <a:cubicBezTo>
                    <a:pt x="632" y="521"/>
                    <a:pt x="632" y="522"/>
                    <a:pt x="637" y="527"/>
                  </a:cubicBezTo>
                  <a:cubicBezTo>
                    <a:pt x="644" y="525"/>
                    <a:pt x="662" y="523"/>
                    <a:pt x="663" y="529"/>
                  </a:cubicBezTo>
                  <a:cubicBezTo>
                    <a:pt x="671" y="526"/>
                    <a:pt x="684" y="530"/>
                    <a:pt x="683" y="537"/>
                  </a:cubicBezTo>
                  <a:cubicBezTo>
                    <a:pt x="684" y="537"/>
                    <a:pt x="686" y="536"/>
                    <a:pt x="687" y="536"/>
                  </a:cubicBezTo>
                  <a:cubicBezTo>
                    <a:pt x="688" y="543"/>
                    <a:pt x="691" y="548"/>
                    <a:pt x="697" y="550"/>
                  </a:cubicBezTo>
                  <a:cubicBezTo>
                    <a:pt x="690" y="558"/>
                    <a:pt x="681" y="560"/>
                    <a:pt x="674" y="568"/>
                  </a:cubicBezTo>
                  <a:cubicBezTo>
                    <a:pt x="676" y="566"/>
                    <a:pt x="678" y="565"/>
                    <a:pt x="680" y="564"/>
                  </a:cubicBezTo>
                  <a:cubicBezTo>
                    <a:pt x="681" y="567"/>
                    <a:pt x="679" y="566"/>
                    <a:pt x="677" y="568"/>
                  </a:cubicBezTo>
                  <a:cubicBezTo>
                    <a:pt x="687" y="561"/>
                    <a:pt x="697" y="560"/>
                    <a:pt x="709" y="562"/>
                  </a:cubicBezTo>
                  <a:cubicBezTo>
                    <a:pt x="705" y="569"/>
                    <a:pt x="696" y="571"/>
                    <a:pt x="688" y="571"/>
                  </a:cubicBezTo>
                  <a:cubicBezTo>
                    <a:pt x="691" y="570"/>
                    <a:pt x="693" y="571"/>
                    <a:pt x="696" y="571"/>
                  </a:cubicBezTo>
                  <a:cubicBezTo>
                    <a:pt x="695" y="574"/>
                    <a:pt x="695" y="577"/>
                    <a:pt x="694" y="579"/>
                  </a:cubicBezTo>
                  <a:cubicBezTo>
                    <a:pt x="700" y="559"/>
                    <a:pt x="729" y="563"/>
                    <a:pt x="744" y="571"/>
                  </a:cubicBezTo>
                  <a:cubicBezTo>
                    <a:pt x="741" y="574"/>
                    <a:pt x="743" y="576"/>
                    <a:pt x="741" y="579"/>
                  </a:cubicBezTo>
                  <a:cubicBezTo>
                    <a:pt x="754" y="562"/>
                    <a:pt x="826" y="583"/>
                    <a:pt x="827" y="599"/>
                  </a:cubicBezTo>
                  <a:close/>
                  <a:moveTo>
                    <a:pt x="577" y="157"/>
                  </a:moveTo>
                  <a:cubicBezTo>
                    <a:pt x="578" y="158"/>
                    <a:pt x="580" y="158"/>
                    <a:pt x="582" y="158"/>
                  </a:cubicBezTo>
                  <a:cubicBezTo>
                    <a:pt x="580" y="158"/>
                    <a:pt x="578" y="158"/>
                    <a:pt x="577" y="157"/>
                  </a:cubicBezTo>
                  <a:close/>
                  <a:moveTo>
                    <a:pt x="70" y="142"/>
                  </a:moveTo>
                  <a:cubicBezTo>
                    <a:pt x="69" y="143"/>
                    <a:pt x="69" y="143"/>
                    <a:pt x="68" y="143"/>
                  </a:cubicBezTo>
                  <a:cubicBezTo>
                    <a:pt x="69" y="143"/>
                    <a:pt x="69" y="143"/>
                    <a:pt x="70" y="142"/>
                  </a:cubicBezTo>
                  <a:close/>
                  <a:moveTo>
                    <a:pt x="225" y="270"/>
                  </a:moveTo>
                  <a:cubicBezTo>
                    <a:pt x="226" y="273"/>
                    <a:pt x="226" y="270"/>
                    <a:pt x="227" y="268"/>
                  </a:cubicBezTo>
                  <a:cubicBezTo>
                    <a:pt x="228" y="267"/>
                    <a:pt x="226" y="269"/>
                    <a:pt x="225" y="270"/>
                  </a:cubicBezTo>
                  <a:close/>
                  <a:moveTo>
                    <a:pt x="639" y="548"/>
                  </a:moveTo>
                  <a:cubicBezTo>
                    <a:pt x="639" y="548"/>
                    <a:pt x="638" y="548"/>
                    <a:pt x="639" y="548"/>
                  </a:cubicBezTo>
                  <a:close/>
                  <a:moveTo>
                    <a:pt x="657" y="747"/>
                  </a:moveTo>
                  <a:cubicBezTo>
                    <a:pt x="656" y="751"/>
                    <a:pt x="653" y="756"/>
                    <a:pt x="649" y="761"/>
                  </a:cubicBezTo>
                  <a:cubicBezTo>
                    <a:pt x="656" y="758"/>
                    <a:pt x="663" y="754"/>
                    <a:pt x="657" y="747"/>
                  </a:cubicBezTo>
                  <a:close/>
                  <a:moveTo>
                    <a:pt x="450" y="83"/>
                  </a:moveTo>
                  <a:cubicBezTo>
                    <a:pt x="449" y="84"/>
                    <a:pt x="448" y="87"/>
                    <a:pt x="446" y="91"/>
                  </a:cubicBezTo>
                  <a:cubicBezTo>
                    <a:pt x="451" y="90"/>
                    <a:pt x="455" y="90"/>
                    <a:pt x="460" y="88"/>
                  </a:cubicBezTo>
                  <a:cubicBezTo>
                    <a:pt x="461" y="90"/>
                    <a:pt x="458" y="90"/>
                    <a:pt x="459" y="91"/>
                  </a:cubicBezTo>
                  <a:cubicBezTo>
                    <a:pt x="474" y="89"/>
                    <a:pt x="485" y="82"/>
                    <a:pt x="501" y="80"/>
                  </a:cubicBezTo>
                  <a:cubicBezTo>
                    <a:pt x="507" y="78"/>
                    <a:pt x="518" y="79"/>
                    <a:pt x="521" y="75"/>
                  </a:cubicBezTo>
                  <a:cubicBezTo>
                    <a:pt x="527" y="67"/>
                    <a:pt x="516" y="67"/>
                    <a:pt x="511" y="70"/>
                  </a:cubicBezTo>
                  <a:cubicBezTo>
                    <a:pt x="517" y="66"/>
                    <a:pt x="511" y="69"/>
                    <a:pt x="510" y="67"/>
                  </a:cubicBezTo>
                  <a:cubicBezTo>
                    <a:pt x="501" y="51"/>
                    <a:pt x="461" y="79"/>
                    <a:pt x="446" y="82"/>
                  </a:cubicBezTo>
                  <a:cubicBezTo>
                    <a:pt x="447" y="83"/>
                    <a:pt x="449" y="83"/>
                    <a:pt x="450" y="83"/>
                  </a:cubicBezTo>
                  <a:close/>
                  <a:moveTo>
                    <a:pt x="492" y="449"/>
                  </a:moveTo>
                  <a:cubicBezTo>
                    <a:pt x="497" y="450"/>
                    <a:pt x="504" y="449"/>
                    <a:pt x="509" y="447"/>
                  </a:cubicBezTo>
                  <a:cubicBezTo>
                    <a:pt x="505" y="445"/>
                    <a:pt x="502" y="444"/>
                    <a:pt x="497" y="444"/>
                  </a:cubicBezTo>
                  <a:cubicBezTo>
                    <a:pt x="498" y="444"/>
                    <a:pt x="498" y="443"/>
                    <a:pt x="499" y="442"/>
                  </a:cubicBezTo>
                  <a:cubicBezTo>
                    <a:pt x="470" y="439"/>
                    <a:pt x="447" y="428"/>
                    <a:pt x="418" y="438"/>
                  </a:cubicBezTo>
                  <a:cubicBezTo>
                    <a:pt x="427" y="438"/>
                    <a:pt x="438" y="433"/>
                    <a:pt x="449" y="434"/>
                  </a:cubicBezTo>
                  <a:cubicBezTo>
                    <a:pt x="448" y="435"/>
                    <a:pt x="445" y="434"/>
                    <a:pt x="444" y="435"/>
                  </a:cubicBezTo>
                  <a:cubicBezTo>
                    <a:pt x="461" y="436"/>
                    <a:pt x="471" y="443"/>
                    <a:pt x="485" y="446"/>
                  </a:cubicBezTo>
                  <a:cubicBezTo>
                    <a:pt x="483" y="446"/>
                    <a:pt x="480" y="449"/>
                    <a:pt x="478" y="449"/>
                  </a:cubicBezTo>
                  <a:cubicBezTo>
                    <a:pt x="483" y="449"/>
                    <a:pt x="487" y="449"/>
                    <a:pt x="492" y="449"/>
                  </a:cubicBezTo>
                  <a:close/>
                  <a:moveTo>
                    <a:pt x="558" y="456"/>
                  </a:moveTo>
                  <a:cubicBezTo>
                    <a:pt x="553" y="454"/>
                    <a:pt x="548" y="453"/>
                    <a:pt x="543" y="452"/>
                  </a:cubicBezTo>
                  <a:cubicBezTo>
                    <a:pt x="546" y="453"/>
                    <a:pt x="549" y="453"/>
                    <a:pt x="552" y="452"/>
                  </a:cubicBezTo>
                  <a:cubicBezTo>
                    <a:pt x="540" y="448"/>
                    <a:pt x="527" y="450"/>
                    <a:pt x="514" y="450"/>
                  </a:cubicBezTo>
                  <a:cubicBezTo>
                    <a:pt x="516" y="450"/>
                    <a:pt x="519" y="450"/>
                    <a:pt x="520" y="451"/>
                  </a:cubicBezTo>
                  <a:cubicBezTo>
                    <a:pt x="522" y="454"/>
                    <a:pt x="518" y="452"/>
                    <a:pt x="523" y="456"/>
                  </a:cubicBezTo>
                  <a:cubicBezTo>
                    <a:pt x="516" y="457"/>
                    <a:pt x="509" y="456"/>
                    <a:pt x="503" y="457"/>
                  </a:cubicBezTo>
                  <a:cubicBezTo>
                    <a:pt x="521" y="465"/>
                    <a:pt x="537" y="458"/>
                    <a:pt x="558" y="456"/>
                  </a:cubicBezTo>
                  <a:close/>
                  <a:moveTo>
                    <a:pt x="616" y="179"/>
                  </a:moveTo>
                  <a:cubicBezTo>
                    <a:pt x="623" y="181"/>
                    <a:pt x="628" y="180"/>
                    <a:pt x="631" y="177"/>
                  </a:cubicBezTo>
                  <a:cubicBezTo>
                    <a:pt x="628" y="178"/>
                    <a:pt x="625" y="177"/>
                    <a:pt x="621" y="177"/>
                  </a:cubicBezTo>
                  <a:cubicBezTo>
                    <a:pt x="630" y="171"/>
                    <a:pt x="616" y="165"/>
                    <a:pt x="611" y="166"/>
                  </a:cubicBezTo>
                  <a:cubicBezTo>
                    <a:pt x="611" y="165"/>
                    <a:pt x="611" y="165"/>
                    <a:pt x="611" y="164"/>
                  </a:cubicBezTo>
                  <a:cubicBezTo>
                    <a:pt x="613" y="161"/>
                    <a:pt x="611" y="163"/>
                    <a:pt x="613" y="161"/>
                  </a:cubicBezTo>
                  <a:cubicBezTo>
                    <a:pt x="602" y="163"/>
                    <a:pt x="596" y="173"/>
                    <a:pt x="588" y="178"/>
                  </a:cubicBezTo>
                  <a:cubicBezTo>
                    <a:pt x="589" y="178"/>
                    <a:pt x="593" y="178"/>
                    <a:pt x="595" y="178"/>
                  </a:cubicBezTo>
                  <a:cubicBezTo>
                    <a:pt x="595" y="178"/>
                    <a:pt x="592" y="181"/>
                    <a:pt x="592" y="181"/>
                  </a:cubicBezTo>
                  <a:cubicBezTo>
                    <a:pt x="601" y="181"/>
                    <a:pt x="608" y="177"/>
                    <a:pt x="616" y="175"/>
                  </a:cubicBezTo>
                  <a:cubicBezTo>
                    <a:pt x="616" y="175"/>
                    <a:pt x="614" y="177"/>
                    <a:pt x="614" y="176"/>
                  </a:cubicBezTo>
                  <a:cubicBezTo>
                    <a:pt x="615" y="178"/>
                    <a:pt x="617" y="176"/>
                    <a:pt x="618" y="177"/>
                  </a:cubicBezTo>
                  <a:cubicBezTo>
                    <a:pt x="618" y="179"/>
                    <a:pt x="616" y="178"/>
                    <a:pt x="616" y="179"/>
                  </a:cubicBezTo>
                  <a:close/>
                </a:path>
              </a:pathLst>
            </a:custGeom>
            <a:solidFill>
              <a:schemeClr val="bg2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" name="Freeform 571">
              <a:extLst>
                <a:ext uri="{FF2B5EF4-FFF2-40B4-BE49-F238E27FC236}">
                  <a16:creationId xmlns:a16="http://schemas.microsoft.com/office/drawing/2014/main" id="{85675FFD-D595-E56A-8C82-4F6762523042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0220316" y="5037134"/>
              <a:ext cx="498474" cy="865187"/>
            </a:xfrm>
            <a:custGeom>
              <a:avLst/>
              <a:gdLst>
                <a:gd name="T0" fmla="*/ 251140 w 131"/>
                <a:gd name="T1" fmla="*/ 0 h 227"/>
                <a:gd name="T2" fmla="*/ 0 w 131"/>
                <a:gd name="T3" fmla="*/ 251552 h 227"/>
                <a:gd name="T4" fmla="*/ 251140 w 131"/>
                <a:gd name="T5" fmla="*/ 865188 h 227"/>
                <a:gd name="T6" fmla="*/ 498475 w 131"/>
                <a:gd name="T7" fmla="*/ 251552 h 227"/>
                <a:gd name="T8" fmla="*/ 251140 w 131"/>
                <a:gd name="T9" fmla="*/ 0 h 227"/>
                <a:gd name="T10" fmla="*/ 251140 w 131"/>
                <a:gd name="T11" fmla="*/ 381140 h 227"/>
                <a:gd name="T12" fmla="*/ 117960 w 131"/>
                <a:gd name="T13" fmla="*/ 251552 h 227"/>
                <a:gd name="T14" fmla="*/ 251140 w 131"/>
                <a:gd name="T15" fmla="*/ 118153 h 227"/>
                <a:gd name="T16" fmla="*/ 380515 w 131"/>
                <a:gd name="T17" fmla="*/ 251552 h 227"/>
                <a:gd name="T18" fmla="*/ 251140 w 131"/>
                <a:gd name="T19" fmla="*/ 381140 h 2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1" h="227">
                  <a:moveTo>
                    <a:pt x="66" y="0"/>
                  </a:moveTo>
                  <a:cubicBezTo>
                    <a:pt x="29" y="0"/>
                    <a:pt x="0" y="29"/>
                    <a:pt x="0" y="66"/>
                  </a:cubicBezTo>
                  <a:cubicBezTo>
                    <a:pt x="0" y="102"/>
                    <a:pt x="66" y="227"/>
                    <a:pt x="66" y="227"/>
                  </a:cubicBezTo>
                  <a:cubicBezTo>
                    <a:pt x="66" y="227"/>
                    <a:pt x="131" y="102"/>
                    <a:pt x="131" y="66"/>
                  </a:cubicBezTo>
                  <a:cubicBezTo>
                    <a:pt x="131" y="29"/>
                    <a:pt x="102" y="0"/>
                    <a:pt x="66" y="0"/>
                  </a:cubicBezTo>
                  <a:close/>
                  <a:moveTo>
                    <a:pt x="66" y="100"/>
                  </a:moveTo>
                  <a:cubicBezTo>
                    <a:pt x="47" y="100"/>
                    <a:pt x="31" y="85"/>
                    <a:pt x="31" y="66"/>
                  </a:cubicBezTo>
                  <a:cubicBezTo>
                    <a:pt x="31" y="47"/>
                    <a:pt x="47" y="31"/>
                    <a:pt x="66" y="31"/>
                  </a:cubicBezTo>
                  <a:cubicBezTo>
                    <a:pt x="85" y="31"/>
                    <a:pt x="100" y="47"/>
                    <a:pt x="100" y="66"/>
                  </a:cubicBezTo>
                  <a:cubicBezTo>
                    <a:pt x="100" y="85"/>
                    <a:pt x="85" y="100"/>
                    <a:pt x="66" y="1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reeform 572">
              <a:extLst>
                <a:ext uri="{FF2B5EF4-FFF2-40B4-BE49-F238E27FC236}">
                  <a16:creationId xmlns:a16="http://schemas.microsoft.com/office/drawing/2014/main" id="{23BE9D53-A7AB-5F70-E9B8-16B861760F9E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5818182" y="4813296"/>
              <a:ext cx="433388" cy="749299"/>
            </a:xfrm>
            <a:custGeom>
              <a:avLst/>
              <a:gdLst>
                <a:gd name="T0" fmla="*/ 216694 w 114"/>
                <a:gd name="T1" fmla="*/ 0 h 197"/>
                <a:gd name="T2" fmla="*/ 0 w 114"/>
                <a:gd name="T3" fmla="*/ 216803 h 197"/>
                <a:gd name="T4" fmla="*/ 216694 w 114"/>
                <a:gd name="T5" fmla="*/ 749300 h 197"/>
                <a:gd name="T6" fmla="*/ 433388 w 114"/>
                <a:gd name="T7" fmla="*/ 216803 h 197"/>
                <a:gd name="T8" fmla="*/ 216694 w 114"/>
                <a:gd name="T9" fmla="*/ 0 h 197"/>
                <a:gd name="T10" fmla="*/ 216694 w 114"/>
                <a:gd name="T11" fmla="*/ 330909 h 197"/>
                <a:gd name="T12" fmla="*/ 102645 w 114"/>
                <a:gd name="T13" fmla="*/ 216803 h 197"/>
                <a:gd name="T14" fmla="*/ 216694 w 114"/>
                <a:gd name="T15" fmla="*/ 102696 h 197"/>
                <a:gd name="T16" fmla="*/ 330743 w 114"/>
                <a:gd name="T17" fmla="*/ 216803 h 197"/>
                <a:gd name="T18" fmla="*/ 216694 w 114"/>
                <a:gd name="T19" fmla="*/ 330909 h 19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4" h="197">
                  <a:moveTo>
                    <a:pt x="57" y="0"/>
                  </a:moveTo>
                  <a:cubicBezTo>
                    <a:pt x="26" y="0"/>
                    <a:pt x="0" y="26"/>
                    <a:pt x="0" y="57"/>
                  </a:cubicBezTo>
                  <a:cubicBezTo>
                    <a:pt x="0" y="89"/>
                    <a:pt x="57" y="197"/>
                    <a:pt x="57" y="197"/>
                  </a:cubicBezTo>
                  <a:cubicBezTo>
                    <a:pt x="57" y="197"/>
                    <a:pt x="114" y="89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lose/>
                  <a:moveTo>
                    <a:pt x="57" y="87"/>
                  </a:moveTo>
                  <a:cubicBezTo>
                    <a:pt x="41" y="87"/>
                    <a:pt x="27" y="74"/>
                    <a:pt x="27" y="57"/>
                  </a:cubicBezTo>
                  <a:cubicBezTo>
                    <a:pt x="27" y="41"/>
                    <a:pt x="41" y="27"/>
                    <a:pt x="57" y="27"/>
                  </a:cubicBezTo>
                  <a:cubicBezTo>
                    <a:pt x="74" y="27"/>
                    <a:pt x="87" y="41"/>
                    <a:pt x="87" y="57"/>
                  </a:cubicBezTo>
                  <a:cubicBezTo>
                    <a:pt x="87" y="74"/>
                    <a:pt x="74" y="87"/>
                    <a:pt x="57" y="8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reeform 573">
              <a:extLst>
                <a:ext uri="{FF2B5EF4-FFF2-40B4-BE49-F238E27FC236}">
                  <a16:creationId xmlns:a16="http://schemas.microsoft.com/office/drawing/2014/main" id="{5919C0FA-085E-DC5F-EC29-D2AAC7E7B1F7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2492372" y="5091108"/>
              <a:ext cx="482600" cy="830262"/>
            </a:xfrm>
            <a:custGeom>
              <a:avLst/>
              <a:gdLst>
                <a:gd name="T0" fmla="*/ 239400 w 127"/>
                <a:gd name="T1" fmla="*/ 0 h 218"/>
                <a:gd name="T2" fmla="*/ 0 w 127"/>
                <a:gd name="T3" fmla="*/ 239938 h 218"/>
                <a:gd name="T4" fmla="*/ 239400 w 127"/>
                <a:gd name="T5" fmla="*/ 830263 h 218"/>
                <a:gd name="T6" fmla="*/ 482600 w 127"/>
                <a:gd name="T7" fmla="*/ 239938 h 218"/>
                <a:gd name="T8" fmla="*/ 239400 w 127"/>
                <a:gd name="T9" fmla="*/ 0 h 218"/>
                <a:gd name="T10" fmla="*/ 239400 w 127"/>
                <a:gd name="T11" fmla="*/ 365620 h 218"/>
                <a:gd name="T12" fmla="*/ 114000 w 127"/>
                <a:gd name="T13" fmla="*/ 239938 h 218"/>
                <a:gd name="T14" fmla="*/ 239400 w 127"/>
                <a:gd name="T15" fmla="*/ 114256 h 218"/>
                <a:gd name="T16" fmla="*/ 364800 w 127"/>
                <a:gd name="T17" fmla="*/ 239938 h 218"/>
                <a:gd name="T18" fmla="*/ 239400 w 127"/>
                <a:gd name="T19" fmla="*/ 365620 h 2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27" h="218">
                  <a:moveTo>
                    <a:pt x="63" y="0"/>
                  </a:moveTo>
                  <a:cubicBezTo>
                    <a:pt x="28" y="0"/>
                    <a:pt x="0" y="28"/>
                    <a:pt x="0" y="63"/>
                  </a:cubicBezTo>
                  <a:cubicBezTo>
                    <a:pt x="0" y="98"/>
                    <a:pt x="63" y="218"/>
                    <a:pt x="63" y="218"/>
                  </a:cubicBezTo>
                  <a:cubicBezTo>
                    <a:pt x="63" y="218"/>
                    <a:pt x="127" y="98"/>
                    <a:pt x="127" y="63"/>
                  </a:cubicBezTo>
                  <a:cubicBezTo>
                    <a:pt x="127" y="28"/>
                    <a:pt x="98" y="0"/>
                    <a:pt x="63" y="0"/>
                  </a:cubicBezTo>
                  <a:close/>
                  <a:moveTo>
                    <a:pt x="63" y="96"/>
                  </a:moveTo>
                  <a:cubicBezTo>
                    <a:pt x="45" y="96"/>
                    <a:pt x="30" y="82"/>
                    <a:pt x="30" y="63"/>
                  </a:cubicBezTo>
                  <a:cubicBezTo>
                    <a:pt x="30" y="45"/>
                    <a:pt x="45" y="30"/>
                    <a:pt x="63" y="30"/>
                  </a:cubicBezTo>
                  <a:cubicBezTo>
                    <a:pt x="82" y="30"/>
                    <a:pt x="96" y="45"/>
                    <a:pt x="96" y="63"/>
                  </a:cubicBezTo>
                  <a:cubicBezTo>
                    <a:pt x="96" y="82"/>
                    <a:pt x="82" y="96"/>
                    <a:pt x="63" y="9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Freeform 574">
              <a:extLst>
                <a:ext uri="{FF2B5EF4-FFF2-40B4-BE49-F238E27FC236}">
                  <a16:creationId xmlns:a16="http://schemas.microsoft.com/office/drawing/2014/main" id="{6BDE6FC3-0FE4-C591-EC1B-763CAC75158A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1639885" y="3536947"/>
              <a:ext cx="365125" cy="628650"/>
            </a:xfrm>
            <a:custGeom>
              <a:avLst/>
              <a:gdLst>
                <a:gd name="T0" fmla="*/ 182563 w 96"/>
                <a:gd name="T1" fmla="*/ 0 h 165"/>
                <a:gd name="T2" fmla="*/ 0 w 96"/>
                <a:gd name="T3" fmla="*/ 182880 h 165"/>
                <a:gd name="T4" fmla="*/ 182563 w 96"/>
                <a:gd name="T5" fmla="*/ 628650 h 165"/>
                <a:gd name="T6" fmla="*/ 365125 w 96"/>
                <a:gd name="T7" fmla="*/ 182880 h 165"/>
                <a:gd name="T8" fmla="*/ 182563 w 96"/>
                <a:gd name="T9" fmla="*/ 0 h 165"/>
                <a:gd name="T10" fmla="*/ 182563 w 96"/>
                <a:gd name="T11" fmla="*/ 278130 h 165"/>
                <a:gd name="T12" fmla="*/ 87478 w 96"/>
                <a:gd name="T13" fmla="*/ 182880 h 165"/>
                <a:gd name="T14" fmla="*/ 182563 w 96"/>
                <a:gd name="T15" fmla="*/ 87630 h 165"/>
                <a:gd name="T16" fmla="*/ 277647 w 96"/>
                <a:gd name="T17" fmla="*/ 182880 h 165"/>
                <a:gd name="T18" fmla="*/ 182563 w 96"/>
                <a:gd name="T19" fmla="*/ 278130 h 1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6" h="165">
                  <a:moveTo>
                    <a:pt x="48" y="0"/>
                  </a:moveTo>
                  <a:cubicBezTo>
                    <a:pt x="22" y="0"/>
                    <a:pt x="0" y="21"/>
                    <a:pt x="0" y="48"/>
                  </a:cubicBezTo>
                  <a:cubicBezTo>
                    <a:pt x="0" y="74"/>
                    <a:pt x="48" y="165"/>
                    <a:pt x="48" y="165"/>
                  </a:cubicBezTo>
                  <a:cubicBezTo>
                    <a:pt x="48" y="165"/>
                    <a:pt x="96" y="74"/>
                    <a:pt x="96" y="48"/>
                  </a:cubicBezTo>
                  <a:cubicBezTo>
                    <a:pt x="96" y="21"/>
                    <a:pt x="75" y="0"/>
                    <a:pt x="48" y="0"/>
                  </a:cubicBezTo>
                  <a:close/>
                  <a:moveTo>
                    <a:pt x="48" y="73"/>
                  </a:moveTo>
                  <a:cubicBezTo>
                    <a:pt x="34" y="73"/>
                    <a:pt x="23" y="62"/>
                    <a:pt x="23" y="48"/>
                  </a:cubicBezTo>
                  <a:cubicBezTo>
                    <a:pt x="23" y="34"/>
                    <a:pt x="34" y="23"/>
                    <a:pt x="48" y="23"/>
                  </a:cubicBezTo>
                  <a:cubicBezTo>
                    <a:pt x="62" y="23"/>
                    <a:pt x="73" y="34"/>
                    <a:pt x="73" y="48"/>
                  </a:cubicBezTo>
                  <a:cubicBezTo>
                    <a:pt x="73" y="62"/>
                    <a:pt x="62" y="73"/>
                    <a:pt x="48" y="7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reeform 575">
              <a:extLst>
                <a:ext uri="{FF2B5EF4-FFF2-40B4-BE49-F238E27FC236}">
                  <a16:creationId xmlns:a16="http://schemas.microsoft.com/office/drawing/2014/main" id="{B283D451-4292-EEC4-4E10-937498845902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770184" y="3419472"/>
              <a:ext cx="327025" cy="563562"/>
            </a:xfrm>
            <a:custGeom>
              <a:avLst/>
              <a:gdLst>
                <a:gd name="T0" fmla="*/ 163513 w 86"/>
                <a:gd name="T1" fmla="*/ 0 h 148"/>
                <a:gd name="T2" fmla="*/ 0 w 86"/>
                <a:gd name="T3" fmla="*/ 163738 h 148"/>
                <a:gd name="T4" fmla="*/ 163513 w 86"/>
                <a:gd name="T5" fmla="*/ 563563 h 148"/>
                <a:gd name="T6" fmla="*/ 327025 w 86"/>
                <a:gd name="T7" fmla="*/ 163738 h 148"/>
                <a:gd name="T8" fmla="*/ 163513 w 86"/>
                <a:gd name="T9" fmla="*/ 0 h 148"/>
                <a:gd name="T10" fmla="*/ 163513 w 86"/>
                <a:gd name="T11" fmla="*/ 247511 h 148"/>
                <a:gd name="T12" fmla="*/ 79855 w 86"/>
                <a:gd name="T13" fmla="*/ 163738 h 148"/>
                <a:gd name="T14" fmla="*/ 163513 w 86"/>
                <a:gd name="T15" fmla="*/ 76157 h 148"/>
                <a:gd name="T16" fmla="*/ 250973 w 86"/>
                <a:gd name="T17" fmla="*/ 163738 h 148"/>
                <a:gd name="T18" fmla="*/ 163513 w 86"/>
                <a:gd name="T19" fmla="*/ 247511 h 1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6" h="148">
                  <a:moveTo>
                    <a:pt x="43" y="0"/>
                  </a:moveTo>
                  <a:cubicBezTo>
                    <a:pt x="19" y="0"/>
                    <a:pt x="0" y="19"/>
                    <a:pt x="0" y="43"/>
                  </a:cubicBezTo>
                  <a:cubicBezTo>
                    <a:pt x="0" y="66"/>
                    <a:pt x="43" y="148"/>
                    <a:pt x="43" y="148"/>
                  </a:cubicBezTo>
                  <a:cubicBezTo>
                    <a:pt x="43" y="148"/>
                    <a:pt x="86" y="66"/>
                    <a:pt x="86" y="43"/>
                  </a:cubicBezTo>
                  <a:cubicBezTo>
                    <a:pt x="86" y="19"/>
                    <a:pt x="67" y="0"/>
                    <a:pt x="43" y="0"/>
                  </a:cubicBezTo>
                  <a:close/>
                  <a:moveTo>
                    <a:pt x="43" y="65"/>
                  </a:moveTo>
                  <a:cubicBezTo>
                    <a:pt x="31" y="65"/>
                    <a:pt x="21" y="55"/>
                    <a:pt x="21" y="43"/>
                  </a:cubicBezTo>
                  <a:cubicBezTo>
                    <a:pt x="21" y="30"/>
                    <a:pt x="31" y="20"/>
                    <a:pt x="43" y="20"/>
                  </a:cubicBezTo>
                  <a:cubicBezTo>
                    <a:pt x="56" y="20"/>
                    <a:pt x="66" y="30"/>
                    <a:pt x="66" y="43"/>
                  </a:cubicBezTo>
                  <a:cubicBezTo>
                    <a:pt x="66" y="55"/>
                    <a:pt x="56" y="65"/>
                    <a:pt x="43" y="6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reeform 576">
              <a:extLst>
                <a:ext uri="{FF2B5EF4-FFF2-40B4-BE49-F238E27FC236}">
                  <a16:creationId xmlns:a16="http://schemas.microsoft.com/office/drawing/2014/main" id="{E4FA72A8-F9D5-DDD3-324E-FC6B079F87E1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5434007" y="3297235"/>
              <a:ext cx="398463" cy="681037"/>
            </a:xfrm>
            <a:custGeom>
              <a:avLst/>
              <a:gdLst>
                <a:gd name="T0" fmla="*/ 201129 w 105"/>
                <a:gd name="T1" fmla="*/ 0 h 179"/>
                <a:gd name="T2" fmla="*/ 0 w 105"/>
                <a:gd name="T3" fmla="*/ 197843 h 179"/>
                <a:gd name="T4" fmla="*/ 201129 w 105"/>
                <a:gd name="T5" fmla="*/ 681038 h 179"/>
                <a:gd name="T6" fmla="*/ 398463 w 105"/>
                <a:gd name="T7" fmla="*/ 197843 h 179"/>
                <a:gd name="T8" fmla="*/ 201129 w 105"/>
                <a:gd name="T9" fmla="*/ 0 h 179"/>
                <a:gd name="T10" fmla="*/ 201129 w 105"/>
                <a:gd name="T11" fmla="*/ 300570 h 179"/>
                <a:gd name="T12" fmla="*/ 94872 w 105"/>
                <a:gd name="T13" fmla="*/ 197843 h 179"/>
                <a:gd name="T14" fmla="*/ 201129 w 105"/>
                <a:gd name="T15" fmla="*/ 95117 h 179"/>
                <a:gd name="T16" fmla="*/ 303591 w 105"/>
                <a:gd name="T17" fmla="*/ 197843 h 179"/>
                <a:gd name="T18" fmla="*/ 201129 w 105"/>
                <a:gd name="T19" fmla="*/ 300570 h 17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5" h="179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1"/>
                    <a:pt x="53" y="179"/>
                    <a:pt x="53" y="179"/>
                  </a:cubicBezTo>
                  <a:cubicBezTo>
                    <a:pt x="53" y="179"/>
                    <a:pt x="105" y="81"/>
                    <a:pt x="105" y="52"/>
                  </a:cubicBezTo>
                  <a:cubicBezTo>
                    <a:pt x="105" y="23"/>
                    <a:pt x="81" y="0"/>
                    <a:pt x="53" y="0"/>
                  </a:cubicBezTo>
                  <a:close/>
                  <a:moveTo>
                    <a:pt x="53" y="79"/>
                  </a:moveTo>
                  <a:cubicBezTo>
                    <a:pt x="37" y="79"/>
                    <a:pt x="25" y="67"/>
                    <a:pt x="25" y="52"/>
                  </a:cubicBezTo>
                  <a:cubicBezTo>
                    <a:pt x="25" y="37"/>
                    <a:pt x="37" y="25"/>
                    <a:pt x="53" y="25"/>
                  </a:cubicBezTo>
                  <a:cubicBezTo>
                    <a:pt x="68" y="25"/>
                    <a:pt x="80" y="37"/>
                    <a:pt x="80" y="52"/>
                  </a:cubicBezTo>
                  <a:cubicBezTo>
                    <a:pt x="80" y="67"/>
                    <a:pt x="68" y="79"/>
                    <a:pt x="53" y="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" name="Freeform 577">
              <a:extLst>
                <a:ext uri="{FF2B5EF4-FFF2-40B4-BE49-F238E27FC236}">
                  <a16:creationId xmlns:a16="http://schemas.microsoft.com/office/drawing/2014/main" id="{2E5B4AAA-E76A-3A5A-0EB2-0D87BEDFC924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7092943" y="3209922"/>
              <a:ext cx="360363" cy="620712"/>
            </a:xfrm>
            <a:custGeom>
              <a:avLst/>
              <a:gdLst>
                <a:gd name="T0" fmla="*/ 182078 w 95"/>
                <a:gd name="T1" fmla="*/ 0 h 163"/>
                <a:gd name="T2" fmla="*/ 0 w 95"/>
                <a:gd name="T3" fmla="*/ 178979 h 163"/>
                <a:gd name="T4" fmla="*/ 182078 w 95"/>
                <a:gd name="T5" fmla="*/ 620713 h 163"/>
                <a:gd name="T6" fmla="*/ 360363 w 95"/>
                <a:gd name="T7" fmla="*/ 178979 h 163"/>
                <a:gd name="T8" fmla="*/ 182078 w 95"/>
                <a:gd name="T9" fmla="*/ 0 h 163"/>
                <a:gd name="T10" fmla="*/ 182078 w 95"/>
                <a:gd name="T11" fmla="*/ 274180 h 163"/>
                <a:gd name="T12" fmla="*/ 87246 w 95"/>
                <a:gd name="T13" fmla="*/ 178979 h 163"/>
                <a:gd name="T14" fmla="*/ 182078 w 95"/>
                <a:gd name="T15" fmla="*/ 83777 h 163"/>
                <a:gd name="T16" fmla="*/ 276911 w 95"/>
                <a:gd name="T17" fmla="*/ 178979 h 163"/>
                <a:gd name="T18" fmla="*/ 182078 w 95"/>
                <a:gd name="T19" fmla="*/ 274180 h 1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5" h="163">
                  <a:moveTo>
                    <a:pt x="48" y="0"/>
                  </a:moveTo>
                  <a:cubicBezTo>
                    <a:pt x="22" y="0"/>
                    <a:pt x="0" y="21"/>
                    <a:pt x="0" y="47"/>
                  </a:cubicBezTo>
                  <a:cubicBezTo>
                    <a:pt x="0" y="73"/>
                    <a:pt x="48" y="163"/>
                    <a:pt x="48" y="163"/>
                  </a:cubicBezTo>
                  <a:cubicBezTo>
                    <a:pt x="48" y="163"/>
                    <a:pt x="95" y="73"/>
                    <a:pt x="95" y="47"/>
                  </a:cubicBezTo>
                  <a:cubicBezTo>
                    <a:pt x="95" y="21"/>
                    <a:pt x="74" y="0"/>
                    <a:pt x="48" y="0"/>
                  </a:cubicBezTo>
                  <a:close/>
                  <a:moveTo>
                    <a:pt x="48" y="72"/>
                  </a:moveTo>
                  <a:cubicBezTo>
                    <a:pt x="34" y="72"/>
                    <a:pt x="23" y="61"/>
                    <a:pt x="23" y="47"/>
                  </a:cubicBezTo>
                  <a:cubicBezTo>
                    <a:pt x="23" y="33"/>
                    <a:pt x="34" y="22"/>
                    <a:pt x="48" y="22"/>
                  </a:cubicBezTo>
                  <a:cubicBezTo>
                    <a:pt x="61" y="22"/>
                    <a:pt x="73" y="33"/>
                    <a:pt x="73" y="47"/>
                  </a:cubicBezTo>
                  <a:cubicBezTo>
                    <a:pt x="73" y="61"/>
                    <a:pt x="61" y="72"/>
                    <a:pt x="48" y="7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" name="Freeform 578">
              <a:extLst>
                <a:ext uri="{FF2B5EF4-FFF2-40B4-BE49-F238E27FC236}">
                  <a16:creationId xmlns:a16="http://schemas.microsoft.com/office/drawing/2014/main" id="{684798A9-F708-DE24-F7A6-4BE6E5BDE8C0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8218483" y="3675059"/>
              <a:ext cx="388938" cy="669925"/>
            </a:xfrm>
            <a:custGeom>
              <a:avLst/>
              <a:gdLst>
                <a:gd name="T0" fmla="*/ 194469 w 102"/>
                <a:gd name="T1" fmla="*/ 0 h 176"/>
                <a:gd name="T2" fmla="*/ 0 w 102"/>
                <a:gd name="T3" fmla="*/ 194126 h 176"/>
                <a:gd name="T4" fmla="*/ 194469 w 102"/>
                <a:gd name="T5" fmla="*/ 669925 h 176"/>
                <a:gd name="T6" fmla="*/ 388938 w 102"/>
                <a:gd name="T7" fmla="*/ 194126 h 176"/>
                <a:gd name="T8" fmla="*/ 194469 w 102"/>
                <a:gd name="T9" fmla="*/ 0 h 176"/>
                <a:gd name="T10" fmla="*/ 194469 w 102"/>
                <a:gd name="T11" fmla="*/ 293092 h 176"/>
                <a:gd name="T12" fmla="*/ 91515 w 102"/>
                <a:gd name="T13" fmla="*/ 194126 h 176"/>
                <a:gd name="T14" fmla="*/ 194469 w 102"/>
                <a:gd name="T15" fmla="*/ 91353 h 176"/>
                <a:gd name="T16" fmla="*/ 293610 w 102"/>
                <a:gd name="T17" fmla="*/ 194126 h 176"/>
                <a:gd name="T18" fmla="*/ 194469 w 102"/>
                <a:gd name="T19" fmla="*/ 293092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2" h="176">
                  <a:moveTo>
                    <a:pt x="51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79"/>
                    <a:pt x="51" y="176"/>
                    <a:pt x="51" y="176"/>
                  </a:cubicBezTo>
                  <a:cubicBezTo>
                    <a:pt x="51" y="176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  <a:moveTo>
                    <a:pt x="51" y="77"/>
                  </a:moveTo>
                  <a:cubicBezTo>
                    <a:pt x="36" y="77"/>
                    <a:pt x="24" y="66"/>
                    <a:pt x="24" y="51"/>
                  </a:cubicBezTo>
                  <a:cubicBezTo>
                    <a:pt x="24" y="36"/>
                    <a:pt x="36" y="24"/>
                    <a:pt x="51" y="24"/>
                  </a:cubicBezTo>
                  <a:cubicBezTo>
                    <a:pt x="65" y="24"/>
                    <a:pt x="77" y="36"/>
                    <a:pt x="77" y="51"/>
                  </a:cubicBezTo>
                  <a:cubicBezTo>
                    <a:pt x="77" y="66"/>
                    <a:pt x="65" y="77"/>
                    <a:pt x="51" y="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Freeform 579">
              <a:extLst>
                <a:ext uri="{FF2B5EF4-FFF2-40B4-BE49-F238E27FC236}">
                  <a16:creationId xmlns:a16="http://schemas.microsoft.com/office/drawing/2014/main" id="{0A361C2A-2854-1C40-B161-EA61C72BACB0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8629650" y="2878138"/>
              <a:ext cx="250825" cy="438149"/>
            </a:xfrm>
            <a:custGeom>
              <a:avLst/>
              <a:gdLst>
                <a:gd name="T0" fmla="*/ 125413 w 66"/>
                <a:gd name="T1" fmla="*/ 0 h 115"/>
                <a:gd name="T2" fmla="*/ 0 w 66"/>
                <a:gd name="T3" fmla="*/ 129540 h 115"/>
                <a:gd name="T4" fmla="*/ 125413 w 66"/>
                <a:gd name="T5" fmla="*/ 438150 h 115"/>
                <a:gd name="T6" fmla="*/ 250825 w 66"/>
                <a:gd name="T7" fmla="*/ 129540 h 115"/>
                <a:gd name="T8" fmla="*/ 125413 w 66"/>
                <a:gd name="T9" fmla="*/ 0 h 115"/>
                <a:gd name="T10" fmla="*/ 125413 w 66"/>
                <a:gd name="T11" fmla="*/ 194310 h 115"/>
                <a:gd name="T12" fmla="*/ 60806 w 66"/>
                <a:gd name="T13" fmla="*/ 129540 h 115"/>
                <a:gd name="T14" fmla="*/ 125413 w 66"/>
                <a:gd name="T15" fmla="*/ 60960 h 115"/>
                <a:gd name="T16" fmla="*/ 193819 w 66"/>
                <a:gd name="T17" fmla="*/ 129540 h 115"/>
                <a:gd name="T18" fmla="*/ 125413 w 66"/>
                <a:gd name="T19" fmla="*/ 194310 h 1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6" h="115">
                  <a:moveTo>
                    <a:pt x="33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52"/>
                    <a:pt x="33" y="115"/>
                    <a:pt x="33" y="115"/>
                  </a:cubicBezTo>
                  <a:cubicBezTo>
                    <a:pt x="33" y="115"/>
                    <a:pt x="66" y="52"/>
                    <a:pt x="66" y="34"/>
                  </a:cubicBezTo>
                  <a:cubicBezTo>
                    <a:pt x="66" y="15"/>
                    <a:pt x="52" y="0"/>
                    <a:pt x="33" y="0"/>
                  </a:cubicBezTo>
                  <a:close/>
                  <a:moveTo>
                    <a:pt x="33" y="51"/>
                  </a:moveTo>
                  <a:cubicBezTo>
                    <a:pt x="24" y="51"/>
                    <a:pt x="16" y="43"/>
                    <a:pt x="16" y="34"/>
                  </a:cubicBezTo>
                  <a:cubicBezTo>
                    <a:pt x="16" y="24"/>
                    <a:pt x="24" y="16"/>
                    <a:pt x="33" y="16"/>
                  </a:cubicBezTo>
                  <a:cubicBezTo>
                    <a:pt x="43" y="16"/>
                    <a:pt x="51" y="24"/>
                    <a:pt x="51" y="34"/>
                  </a:cubicBezTo>
                  <a:cubicBezTo>
                    <a:pt x="51" y="43"/>
                    <a:pt x="43" y="51"/>
                    <a:pt x="33" y="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56577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459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6F39D288-99AE-1D65-A972-0FB163D764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8248" y="0"/>
            <a:ext cx="3863752" cy="6858000"/>
          </a:xfrm>
          <a:solidFill>
            <a:schemeClr val="tx1"/>
          </a:solidFill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pic>
        <p:nvPicPr>
          <p:cNvPr id="20" name="Picture 14">
            <a:extLst>
              <a:ext uri="{FF2B5EF4-FFF2-40B4-BE49-F238E27FC236}">
                <a16:creationId xmlns:a16="http://schemas.microsoft.com/office/drawing/2014/main" id="{8E861148-63FD-07FE-1C15-76357E60C4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876" r="24728"/>
          <a:stretch/>
        </p:blipFill>
        <p:spPr>
          <a:xfrm>
            <a:off x="6912446" y="1102118"/>
            <a:ext cx="2679640" cy="5375088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9FF529FB-1B2B-F296-A23B-92EA09A30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169225" y="1592796"/>
            <a:ext cx="2232247" cy="4428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Text </a:t>
            </a:r>
            <a:r>
              <a:rPr lang="de-DE" dirty="0" err="1">
                <a:latin typeface="+mj-lt"/>
              </a:rPr>
              <a:t>hell+Bild</a:t>
            </a:r>
            <a:r>
              <a:rPr lang="de-DE" dirty="0">
                <a:latin typeface="+mj-lt"/>
              </a:rPr>
              <a:t> rechts‘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21" name="Picture 2" descr="Dallmer app">
            <a:extLst>
              <a:ext uri="{FF2B5EF4-FFF2-40B4-BE49-F238E27FC236}">
                <a16:creationId xmlns:a16="http://schemas.microsoft.com/office/drawing/2014/main" id="{77144200-3545-DD66-E3E2-5D1E321738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69225" y="1775868"/>
            <a:ext cx="2232247" cy="408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8165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947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31F4E-2E20-1BD9-AC03-5A3D9B20F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Nur Titel‘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CD75355D-3A9C-CD90-CA55-ED1D3C708AC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56962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14" name="Pfeil: Fünfeck 13">
            <a:extLst>
              <a:ext uri="{FF2B5EF4-FFF2-40B4-BE49-F238E27FC236}">
                <a16:creationId xmlns:a16="http://schemas.microsoft.com/office/drawing/2014/main" id="{E16AE882-0989-62EB-540B-39852E7CE8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73971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3254F859-584D-5C1E-0F88-C316A085E45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90980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BFD2A6F0-1C8B-F09B-A381-F8599714DAE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7989" y="2060575"/>
            <a:ext cx="3027050" cy="1080393"/>
          </a:xfrm>
          <a:prstGeom prst="homePlate">
            <a:avLst>
              <a:gd name="adj" fmla="val 20612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Text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4F521A2-B25D-87F1-9542-931B53539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07989" y="3584639"/>
            <a:ext cx="2551519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ero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o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ccusa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justo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uo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t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lit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kas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ubergre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o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akimat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anctus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endParaRPr lang="de-DE" dirty="0" err="1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2B1BC40-3361-F16C-CF91-2E6D44F97B7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77689" y="3584639"/>
            <a:ext cx="2551519" cy="2431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i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nsetetu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adipsc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lit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sed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a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onum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bor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agna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iquya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rat, sed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a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oluptu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  <a:p>
            <a:pPr algn="l"/>
            <a:endParaRPr lang="de-DE" dirty="0" err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476D852-A015-9699-6E30-D01041F6607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147389" y="3584639"/>
            <a:ext cx="255151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t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lit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kas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ubergre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o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akimt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anctus est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i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AAC3C5A-9B30-16A2-0CE0-83359D40648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017089" y="3584639"/>
            <a:ext cx="2551519" cy="273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e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ccusa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justo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uo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i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emp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vidun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u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abor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olor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a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oluptu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  <a:p>
            <a:pPr algn="l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0492730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92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Text‘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4</a:t>
            </a:fld>
            <a:endParaRPr lang="de-DE" dirty="0"/>
          </a:p>
        </p:txBody>
      </p:sp>
      <p:graphicFrame>
        <p:nvGraphicFramePr>
          <p:cNvPr id="22" name="Diagramm 21">
            <a:extLst>
              <a:ext uri="{FF2B5EF4-FFF2-40B4-BE49-F238E27FC236}">
                <a16:creationId xmlns:a16="http://schemas.microsoft.com/office/drawing/2014/main" id="{52D2D0F6-9443-8AC3-FFB2-759174AF13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068357"/>
              </p:ext>
            </p:extLst>
          </p:nvPr>
        </p:nvGraphicFramePr>
        <p:xfrm>
          <a:off x="6095999" y="2060847"/>
          <a:ext cx="5688013" cy="4116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945082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93E5FE-8298-CFB6-E946-0673C4B711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539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93E5FE-8298-CFB6-E946-0673C4B71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1E8920D0-7130-C8CC-19BF-9B1A667B9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Text‘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1DF66C1-6A96-FC27-FAC7-6351E5646E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C08AEF-8A7B-EB9D-F1FE-A0E3470F16C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A33C32-242F-F60D-8EBB-99516D88BA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5</a:t>
            </a:fld>
            <a:endParaRPr lang="de-DE" dirty="0"/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B65CEFE3-BCD7-399D-5941-1AC13F0B9A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166620"/>
              </p:ext>
            </p:extLst>
          </p:nvPr>
        </p:nvGraphicFramePr>
        <p:xfrm>
          <a:off x="6095999" y="2060847"/>
          <a:ext cx="5688015" cy="15240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137603">
                  <a:extLst>
                    <a:ext uri="{9D8B030D-6E8A-4147-A177-3AD203B41FA5}">
                      <a16:colId xmlns:a16="http://schemas.microsoft.com/office/drawing/2014/main" val="102220056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879604911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173929518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4287464208"/>
                    </a:ext>
                  </a:extLst>
                </a:gridCol>
                <a:gridCol w="1137603">
                  <a:extLst>
                    <a:ext uri="{9D8B030D-6E8A-4147-A177-3AD203B41FA5}">
                      <a16:colId xmlns:a16="http://schemas.microsoft.com/office/drawing/2014/main" val="315173986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Übersch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Übersch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Übersch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Übersch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Überschri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7906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+mn-lt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>
                          <a:latin typeface="+mn-lt"/>
                        </a:rPr>
                        <a:t>Zah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6050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677809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065126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ahl</a:t>
                      </a:r>
                      <a:endParaRPr lang="de-DE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0406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81649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05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Nur Titel‘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11" name="object 2">
            <a:extLst>
              <a:ext uri="{FF2B5EF4-FFF2-40B4-BE49-F238E27FC236}">
                <a16:creationId xmlns:a16="http://schemas.microsoft.com/office/drawing/2014/main" id="{FC96A829-7226-585F-A1ED-33CE20D3CE13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407989" y="2712669"/>
            <a:ext cx="5160989" cy="2337773"/>
          </a:xfrm>
          <a:prstGeom prst="rect">
            <a:avLst/>
          </a:prstGeom>
        </p:spPr>
      </p:pic>
      <p:sp>
        <p:nvSpPr>
          <p:cNvPr id="12" name="object 11">
            <a:extLst>
              <a:ext uri="{FF2B5EF4-FFF2-40B4-BE49-F238E27FC236}">
                <a16:creationId xmlns:a16="http://schemas.microsoft.com/office/drawing/2014/main" id="{4AF729F5-1421-0556-705B-AA36A7F9489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329822" y="2718991"/>
            <a:ext cx="2550160" cy="27199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8600" indent="-215900">
              <a:lnSpc>
                <a:spcPct val="100000"/>
              </a:lnSpc>
              <a:spcBef>
                <a:spcPts val="100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Als Fließtext oder Lauftext.</a:t>
            </a:r>
          </a:p>
          <a:p>
            <a:pPr marL="228600" marR="350520" indent="-216535">
              <a:lnSpc>
                <a:spcPct val="107100"/>
              </a:lnSpc>
              <a:spcBef>
                <a:spcPts val="1135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Als Fließtext oder Lauftext bezeichnet man im Schriftsatz durchgängigen Text</a:t>
            </a:r>
          </a:p>
          <a:p>
            <a:pPr marL="228600" indent="-215900">
              <a:lnSpc>
                <a:spcPct val="100000"/>
              </a:lnSpc>
              <a:spcBef>
                <a:spcPts val="1250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Als Fließtext oder Lauftext.</a:t>
            </a:r>
          </a:p>
          <a:p>
            <a:pPr marL="228600" marR="5080" indent="-216535">
              <a:lnSpc>
                <a:spcPct val="107100"/>
              </a:lnSpc>
              <a:spcBef>
                <a:spcPts val="1135"/>
              </a:spcBef>
              <a:buAutoNum type="arabicPeriod"/>
              <a:tabLst>
                <a:tab pos="228600" algn="l"/>
              </a:tabLst>
            </a:pPr>
            <a:r>
              <a:rPr lang="de-DE" sz="1400" dirty="0"/>
              <a:t>Als Fließtext oder Lauftext bezeich- net man im Schriftsatz durchgängi- gen Text</a:t>
            </a:r>
          </a:p>
        </p:txBody>
      </p:sp>
      <p:sp>
        <p:nvSpPr>
          <p:cNvPr id="13" name="object 12">
            <a:extLst>
              <a:ext uri="{FF2B5EF4-FFF2-40B4-BE49-F238E27FC236}">
                <a16:creationId xmlns:a16="http://schemas.microsoft.com/office/drawing/2014/main" id="{E8645194-9D1F-52EE-FC5E-7808B29CF9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233853" y="2718991"/>
            <a:ext cx="2550160" cy="184018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7100"/>
              </a:lnSpc>
              <a:spcBef>
                <a:spcPts val="100"/>
              </a:spcBef>
            </a:pPr>
            <a:r>
              <a:rPr lang="de-DE" sz="1400" dirty="0"/>
              <a:t>Als Fließtext oder Lauftext bezeichnet man im Schriftsatz durchgängigen Text, soweit dieser in einem Stück und ohne Unterbrechungen durch Absätze, Über- schriften, Abbildungen, Fußnoten und Ähnliches gesetzt wird.</a:t>
            </a:r>
          </a:p>
        </p:txBody>
      </p:sp>
    </p:spTree>
    <p:extLst>
      <p:ext uri="{BB962C8B-B14F-4D97-AF65-F5344CB8AC3E}">
        <p14:creationId xmlns:p14="http://schemas.microsoft.com/office/powerpoint/2010/main" val="3755138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391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31F4E-2E20-1BD9-AC03-5A3D9B20F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Nur Titel‘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2" name="object 2">
            <a:extLst>
              <a:ext uri="{FF2B5EF4-FFF2-40B4-BE49-F238E27FC236}">
                <a16:creationId xmlns:a16="http://schemas.microsoft.com/office/drawing/2014/main" id="{099DDAE4-4EF5-C288-F410-1C5E9C7A029E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432000" y="3406157"/>
            <a:ext cx="2579527" cy="681670"/>
          </a:xfrm>
          <a:prstGeom prst="rect">
            <a:avLst/>
          </a:prstGeom>
        </p:spPr>
      </p:pic>
      <p:pic>
        <p:nvPicPr>
          <p:cNvPr id="3" name="object 3">
            <a:extLst>
              <a:ext uri="{FF2B5EF4-FFF2-40B4-BE49-F238E27FC236}">
                <a16:creationId xmlns:a16="http://schemas.microsoft.com/office/drawing/2014/main" id="{E4444A68-1216-3A57-2D9F-D16F52854BD0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336030" y="3406156"/>
            <a:ext cx="2579525" cy="681668"/>
          </a:xfrm>
          <a:prstGeom prst="rect">
            <a:avLst/>
          </a:prstGeom>
        </p:spPr>
      </p:pic>
      <p:pic>
        <p:nvPicPr>
          <p:cNvPr id="8" name="object 4">
            <a:extLst>
              <a:ext uri="{FF2B5EF4-FFF2-40B4-BE49-F238E27FC236}">
                <a16:creationId xmlns:a16="http://schemas.microsoft.com/office/drawing/2014/main" id="{AC8445FF-A928-6A06-7A4A-755B4AD77C4A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6240060" y="3406157"/>
            <a:ext cx="2579527" cy="681670"/>
          </a:xfrm>
          <a:prstGeom prst="rect">
            <a:avLst/>
          </a:prstGeom>
        </p:spPr>
      </p:pic>
      <p:sp>
        <p:nvSpPr>
          <p:cNvPr id="15" name="object 9">
            <a:extLst>
              <a:ext uri="{FF2B5EF4-FFF2-40B4-BE49-F238E27FC236}">
                <a16:creationId xmlns:a16="http://schemas.microsoft.com/office/drawing/2014/main" id="{8FD7C7C4-7B42-E485-2D0D-9560C5B3DEB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7989" y="2060847"/>
            <a:ext cx="3706143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2000" dirty="0">
                <a:latin typeface="+mj-lt"/>
              </a:rPr>
              <a:t>Subheadline für Produktauswahl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0BD4FFF1-EC58-DAB4-DA4E-DA9AA1721E3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209088" y="2458230"/>
            <a:ext cx="2574925" cy="215956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buFont typeface="Symbol" panose="05050102010706020507" pitchFamily="18" charset="2"/>
              <a:buChar char="-"/>
            </a:lvl1pPr>
            <a:lvl2pPr>
              <a:buFont typeface="Symbol" panose="05050102010706020507" pitchFamily="18" charset="2"/>
              <a:buChar char="-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Symbol" panose="05050102010706020507" pitchFamily="18" charset="2"/>
              <a:buChar char="-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>
              <a:buFont typeface="Arial" panose="020B0604020202020204" pitchFamily="34" charset="0"/>
              <a:buChar char="•"/>
            </a:lvl9pPr>
          </a:lstStyle>
          <a:p>
            <a:pPr marL="180975" indent="-169863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Als Fließtext oder Lauftext.</a:t>
            </a:r>
          </a:p>
          <a:p>
            <a:pPr marL="180975" marR="5080" indent="-169863">
              <a:lnSpc>
                <a:spcPct val="100000"/>
              </a:lnSpc>
              <a:spcBef>
                <a:spcPts val="1130"/>
              </a:spcBef>
            </a:pPr>
            <a:r>
              <a:rPr lang="de-DE" sz="1400" dirty="0"/>
              <a:t>Als Fließtext oder </a:t>
            </a:r>
            <a:r>
              <a:rPr lang="de-DE" sz="1400" dirty="0" err="1"/>
              <a:t>Lauftext</a:t>
            </a:r>
            <a:r>
              <a:rPr lang="de-DE" sz="1400" dirty="0"/>
              <a:t> </a:t>
            </a:r>
            <a:r>
              <a:rPr lang="de-DE" sz="1400" dirty="0" err="1"/>
              <a:t>bezeichnet</a:t>
            </a:r>
            <a:r>
              <a:rPr lang="de-DE" sz="1400" dirty="0"/>
              <a:t> man im </a:t>
            </a:r>
            <a:r>
              <a:rPr lang="de-DE" sz="1400" dirty="0" err="1"/>
              <a:t>Schriftsatz</a:t>
            </a:r>
            <a:r>
              <a:rPr lang="de-DE" sz="1400" dirty="0"/>
              <a:t> </a:t>
            </a:r>
            <a:r>
              <a:rPr lang="de-DE" sz="1400" dirty="0" err="1"/>
              <a:t>durchgängigen</a:t>
            </a:r>
            <a:r>
              <a:rPr lang="de-DE" sz="1400" dirty="0"/>
              <a:t> Text</a:t>
            </a:r>
          </a:p>
          <a:p>
            <a:pPr marL="180975" indent="-169863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Als Fließtext oder Lauftext.</a:t>
            </a:r>
          </a:p>
          <a:p>
            <a:pPr marL="180975" marR="5080" indent="-169863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Als Fließtext oder </a:t>
            </a:r>
            <a:r>
              <a:rPr lang="de-DE" sz="1400" dirty="0" err="1"/>
              <a:t>Lauftext</a:t>
            </a:r>
            <a:r>
              <a:rPr lang="de-DE" sz="1400" dirty="0"/>
              <a:t> </a:t>
            </a:r>
            <a:r>
              <a:rPr lang="de-DE" sz="1400" dirty="0" err="1"/>
              <a:t>bezeichnet</a:t>
            </a:r>
            <a:r>
              <a:rPr lang="de-DE" sz="1400" dirty="0"/>
              <a:t> man im </a:t>
            </a:r>
            <a:r>
              <a:rPr lang="de-DE" sz="1400" dirty="0" err="1"/>
              <a:t>Schriftsatz</a:t>
            </a:r>
            <a:r>
              <a:rPr lang="de-DE" sz="1400" dirty="0"/>
              <a:t> </a:t>
            </a:r>
            <a:r>
              <a:rPr lang="de-DE" sz="1400" dirty="0" err="1"/>
              <a:t>durchgängigen</a:t>
            </a:r>
            <a:r>
              <a:rPr lang="de-DE" sz="1400" dirty="0"/>
              <a:t> Text</a:t>
            </a:r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BA4FA87C-3FAC-080C-73BC-777F673334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7989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Schriftsatz durchgängigen Text</a:t>
            </a:r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3BAD02CD-3F48-9C66-1228-18AA33C6F4E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323306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Schriftsatz durchgängigen Text</a:t>
            </a: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CA60381D-7877-809A-DA30-4AD311A7F83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227314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Schriftsatz durchgängigen Text</a:t>
            </a:r>
          </a:p>
        </p:txBody>
      </p:sp>
    </p:spTree>
    <p:extLst>
      <p:ext uri="{BB962C8B-B14F-4D97-AF65-F5344CB8AC3E}">
        <p14:creationId xmlns:p14="http://schemas.microsoft.com/office/powerpoint/2010/main" val="3755500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F31F4E-2E20-1BD9-AC03-5A3D9B20F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856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31F4E-2E20-1BD9-AC03-5A3D9B20F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3B64E586-75BF-1DAA-3795-7B4CB14BE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11376024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Nur Titel‘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FEE88D-35CB-A184-21C3-7A9597389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EB7BFC-454D-3180-5156-C7195EDF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D7B118FA-99C5-B7B2-B410-7DAF70993F7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7989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Schriftsatz durchgängigen Text</a:t>
            </a:r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5681F907-F9E2-4E87-E3B1-EDC53C9768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323306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Schriftsatz durchgängigen Text</a:t>
            </a:r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53DDA45E-FC2D-9661-D6FB-3190FFB816E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27314" y="5110231"/>
            <a:ext cx="19970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Schriftsatz durchgängigen Text</a:t>
            </a:r>
          </a:p>
        </p:txBody>
      </p:sp>
      <p:sp>
        <p:nvSpPr>
          <p:cNvPr id="15" name="object 9">
            <a:extLst>
              <a:ext uri="{FF2B5EF4-FFF2-40B4-BE49-F238E27FC236}">
                <a16:creationId xmlns:a16="http://schemas.microsoft.com/office/drawing/2014/main" id="{8FD7C7C4-7B42-E485-2D0D-9560C5B3DEB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7989" y="2060847"/>
            <a:ext cx="3706143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2000" dirty="0">
                <a:latin typeface="+mj-lt"/>
              </a:rPr>
              <a:t>Subheadline für Produktauswahl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0BD4FFF1-EC58-DAB4-DA4E-DA9AA1721E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209088" y="2458230"/>
            <a:ext cx="2574925" cy="215956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buFont typeface="Symbol" panose="05050102010706020507" pitchFamily="18" charset="2"/>
              <a:buChar char="-"/>
            </a:lvl1pPr>
            <a:lvl2pPr>
              <a:buFont typeface="Symbol" panose="05050102010706020507" pitchFamily="18" charset="2"/>
              <a:buChar char="-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Symbol" panose="05050102010706020507" pitchFamily="18" charset="2"/>
              <a:buChar char="-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>
              <a:buFont typeface="Arial" panose="020B0604020202020204" pitchFamily="34" charset="0"/>
              <a:buChar char="•"/>
            </a:lvl9pPr>
          </a:lstStyle>
          <a:p>
            <a:pPr marL="180975" indent="-169863">
              <a:lnSpc>
                <a:spcPct val="100000"/>
              </a:lnSpc>
              <a:spcBef>
                <a:spcPts val="100"/>
              </a:spcBef>
            </a:pPr>
            <a:r>
              <a:rPr lang="de-DE" sz="1400" dirty="0"/>
              <a:t>Als Fließtext oder Lauftext.</a:t>
            </a:r>
          </a:p>
          <a:p>
            <a:pPr marL="180975" marR="5080" indent="-169863" algn="just">
              <a:lnSpc>
                <a:spcPct val="100000"/>
              </a:lnSpc>
              <a:spcBef>
                <a:spcPts val="1130"/>
              </a:spcBef>
            </a:pPr>
            <a:r>
              <a:rPr lang="de-DE" sz="1400" dirty="0"/>
              <a:t>Als Fließtext oder Lauftext bezeichnet man im Schriftsatz durchgängigen Text</a:t>
            </a:r>
          </a:p>
          <a:p>
            <a:pPr marL="180975" indent="-169863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Als Fließtext oder Lauftext.</a:t>
            </a:r>
          </a:p>
          <a:p>
            <a:pPr marL="180975" marR="5080" indent="-169863" algn="just">
              <a:lnSpc>
                <a:spcPct val="100000"/>
              </a:lnSpc>
              <a:spcBef>
                <a:spcPts val="1135"/>
              </a:spcBef>
            </a:pPr>
            <a:r>
              <a:rPr lang="de-DE" sz="1400" dirty="0"/>
              <a:t>Als Fließtext oder Lauftext bezeichnet man im Schriftsatz durchgängigen Text</a:t>
            </a:r>
          </a:p>
        </p:txBody>
      </p:sp>
      <p:pic>
        <p:nvPicPr>
          <p:cNvPr id="11" name="object 2">
            <a:extLst>
              <a:ext uri="{FF2B5EF4-FFF2-40B4-BE49-F238E27FC236}">
                <a16:creationId xmlns:a16="http://schemas.microsoft.com/office/drawing/2014/main" id="{338695CC-6BA6-425F-BDF8-7B39B1EFF911}"/>
              </a:ext>
            </a:extLst>
          </p:cNvPr>
          <p:cNvPicPr/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6030" y="2519997"/>
            <a:ext cx="2616040" cy="2460002"/>
          </a:xfrm>
          <a:prstGeom prst="rect">
            <a:avLst/>
          </a:prstGeom>
        </p:spPr>
      </p:pic>
      <p:pic>
        <p:nvPicPr>
          <p:cNvPr id="12" name="object 3">
            <a:extLst>
              <a:ext uri="{FF2B5EF4-FFF2-40B4-BE49-F238E27FC236}">
                <a16:creationId xmlns:a16="http://schemas.microsoft.com/office/drawing/2014/main" id="{3AFFECCF-8961-CCF2-B0C0-AEC4BEBF2DD9}"/>
              </a:ext>
            </a:extLst>
          </p:cNvPr>
          <p:cNvPicPr/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0055" y="2519997"/>
            <a:ext cx="2616034" cy="2460002"/>
          </a:xfrm>
          <a:prstGeom prst="rect">
            <a:avLst/>
          </a:prstGeom>
        </p:spPr>
      </p:pic>
      <p:pic>
        <p:nvPicPr>
          <p:cNvPr id="13" name="object 4">
            <a:extLst>
              <a:ext uri="{FF2B5EF4-FFF2-40B4-BE49-F238E27FC236}">
                <a16:creationId xmlns:a16="http://schemas.microsoft.com/office/drawing/2014/main" id="{D759EE80-CD25-7945-3A18-93135792309F}"/>
              </a:ext>
            </a:extLst>
          </p:cNvPr>
          <p:cNvPicPr/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3" y="2519997"/>
            <a:ext cx="2616034" cy="2460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5064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E84F7EF-2530-DDA7-A2D1-44966A3DAF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66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FB01F35-F791-2AFC-0FB3-FFFF9D018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415498"/>
          </a:xfrm>
        </p:spPr>
        <p:txBody>
          <a:bodyPr vert="horz"/>
          <a:lstStyle/>
          <a:p>
            <a:r>
              <a:rPr lang="de-DE" dirty="0"/>
              <a:t>Herzlich Willkommen!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E65303B2-315F-9939-2FF6-9D64E15AA5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Name Vorname, </a:t>
            </a:r>
            <a:r>
              <a:rPr lang="de-DE" dirty="0" err="1">
                <a:latin typeface="+mj-lt"/>
              </a:rPr>
              <a:t>Jobbezeichung</a:t>
            </a:r>
            <a:endParaRPr lang="de-DE" dirty="0">
              <a:latin typeface="+mj-lt"/>
            </a:endParaRPr>
          </a:p>
          <a:p>
            <a:r>
              <a:rPr lang="de-DE" dirty="0"/>
              <a:t>Als Fließtext oder Lauftext.</a:t>
            </a:r>
          </a:p>
          <a:p>
            <a:r>
              <a:rPr lang="de-DE" dirty="0"/>
              <a:t>Als Fließtext oder Lauftext bezeichnet man im Schriftsatz durchgängigen Text</a:t>
            </a:r>
          </a:p>
          <a:p>
            <a:r>
              <a:rPr lang="de-DE" dirty="0"/>
              <a:t>Als Fließtext oder Lauftext.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40AE05-1D6C-0F32-AF86-974C98CA8D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30E584-1558-A81D-30EF-5F63395BA6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19" name="object 4">
            <a:extLst>
              <a:ext uri="{FF2B5EF4-FFF2-40B4-BE49-F238E27FC236}">
                <a16:creationId xmlns:a16="http://schemas.microsoft.com/office/drawing/2014/main" id="{B161907B-8C72-1C6F-8231-AC29AC65AFC1}"/>
              </a:ext>
            </a:extLst>
          </p:cNvPr>
          <p:cNvPicPr/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5345" y="404814"/>
            <a:ext cx="4245310" cy="5805486"/>
          </a:xfrm>
          <a:prstGeom prst="roundRect">
            <a:avLst>
              <a:gd name="adj" fmla="val 6738"/>
            </a:avLst>
          </a:prstGeom>
        </p:spPr>
      </p:pic>
      <p:sp>
        <p:nvSpPr>
          <p:cNvPr id="20" name="object 5">
            <a:extLst>
              <a:ext uri="{FF2B5EF4-FFF2-40B4-BE49-F238E27FC236}">
                <a16:creationId xmlns:a16="http://schemas.microsoft.com/office/drawing/2014/main" id="{3AD476CD-06A2-B6E1-9895-F81FA2E781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456363" y="5702920"/>
            <a:ext cx="3352071" cy="2387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600" dirty="0"/>
              <a:t>Kontakt: </a:t>
            </a:r>
            <a:r>
              <a:rPr lang="de-DE" sz="16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600" dirty="0"/>
          </a:p>
        </p:txBody>
      </p:sp>
      <p:grpSp>
        <p:nvGrpSpPr>
          <p:cNvPr id="21" name="object 6">
            <a:extLst>
              <a:ext uri="{FF2B5EF4-FFF2-40B4-BE49-F238E27FC236}">
                <a16:creationId xmlns:a16="http://schemas.microsoft.com/office/drawing/2014/main" id="{1BFB995C-0E2C-010E-2D1F-3CE83ABE895C}"/>
              </a:ext>
            </a:extLst>
          </p:cNvPr>
          <p:cNvGrpSpPr/>
          <p:nvPr/>
        </p:nvGrpSpPr>
        <p:grpSpPr>
          <a:xfrm>
            <a:off x="11009831" y="5416397"/>
            <a:ext cx="771525" cy="771525"/>
            <a:chOff x="5182438" y="5416397"/>
            <a:chExt cx="771525" cy="771525"/>
          </a:xfrm>
        </p:grpSpPr>
        <p:sp>
          <p:nvSpPr>
            <p:cNvPr id="22" name="object 7">
              <a:extLst>
                <a:ext uri="{FF2B5EF4-FFF2-40B4-BE49-F238E27FC236}">
                  <a16:creationId xmlns:a16="http://schemas.microsoft.com/office/drawing/2014/main" id="{8A9F3C75-D464-F7CC-3EA5-4CF172B82D89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3" name="object 8">
              <a:extLst>
                <a:ext uri="{FF2B5EF4-FFF2-40B4-BE49-F238E27FC236}">
                  <a16:creationId xmlns:a16="http://schemas.microsoft.com/office/drawing/2014/main" id="{A2503C98-1AE9-EFFC-E91E-8DCE40328033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4" name="object 9">
              <a:extLst>
                <a:ext uri="{FF2B5EF4-FFF2-40B4-BE49-F238E27FC236}">
                  <a16:creationId xmlns:a16="http://schemas.microsoft.com/office/drawing/2014/main" id="{F1A34BA1-AE42-1C69-6B31-C1AB5EC03F62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5" name="object 10">
              <a:extLst>
                <a:ext uri="{FF2B5EF4-FFF2-40B4-BE49-F238E27FC236}">
                  <a16:creationId xmlns:a16="http://schemas.microsoft.com/office/drawing/2014/main" id="{14DBD457-908B-9C29-DED5-B4294D7A5C52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6" name="object 11">
              <a:extLst>
                <a:ext uri="{FF2B5EF4-FFF2-40B4-BE49-F238E27FC236}">
                  <a16:creationId xmlns:a16="http://schemas.microsoft.com/office/drawing/2014/main" id="{8C5DCD99-F8C9-4F76-A6E3-D390B10959A6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7" name="object 12">
              <a:extLst>
                <a:ext uri="{FF2B5EF4-FFF2-40B4-BE49-F238E27FC236}">
                  <a16:creationId xmlns:a16="http://schemas.microsoft.com/office/drawing/2014/main" id="{1E57D099-8766-5993-8587-A3B3DA427028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8" name="object 13">
              <a:extLst>
                <a:ext uri="{FF2B5EF4-FFF2-40B4-BE49-F238E27FC236}">
                  <a16:creationId xmlns:a16="http://schemas.microsoft.com/office/drawing/2014/main" id="{A5FF7538-9DE5-3065-B5B0-93D95B5337A0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9" name="object 14">
              <a:extLst>
                <a:ext uri="{FF2B5EF4-FFF2-40B4-BE49-F238E27FC236}">
                  <a16:creationId xmlns:a16="http://schemas.microsoft.com/office/drawing/2014/main" id="{8E978AE2-857B-55B5-A750-DEF6845CC85C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</p:grp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1814598D-9BC0-AFCB-2AB1-5A4E5D44DB6C}"/>
              </a:ext>
            </a:extLst>
          </p:cNvPr>
          <p:cNvCxnSpPr/>
          <p:nvPr/>
        </p:nvCxnSpPr>
        <p:spPr>
          <a:xfrm>
            <a:off x="6456363" y="5416397"/>
            <a:ext cx="121221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284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019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543550" cy="969496"/>
          </a:xfrm>
        </p:spPr>
        <p:txBody>
          <a:bodyPr vert="horz"/>
          <a:lstStyle/>
          <a:p>
            <a:r>
              <a:rPr lang="de-DE" dirty="0"/>
              <a:t>Sessions Titel-Folie 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‚Titelfolie dunkel‘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Referent: Max Mustermann</a:t>
            </a:r>
          </a:p>
          <a:p>
            <a:r>
              <a:rPr lang="de-DE" dirty="0"/>
              <a:t>Datum: 12.12.2024</a:t>
            </a:r>
          </a:p>
        </p:txBody>
      </p:sp>
      <p:pic>
        <p:nvPicPr>
          <p:cNvPr id="32" name="Bildplatzhalter 31">
            <a:extLst>
              <a:ext uri="{FF2B5EF4-FFF2-40B4-BE49-F238E27FC236}">
                <a16:creationId xmlns:a16="http://schemas.microsoft.com/office/drawing/2014/main" id="{05274735-B7F8-4159-B7F2-34266ACA201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56" r="5556"/>
          <a:stretch/>
        </p:blipFill>
        <p:spPr>
          <a:xfrm>
            <a:off x="10702800" y="403200"/>
            <a:ext cx="1080000" cy="1215000"/>
          </a:xfrm>
        </p:spPr>
      </p:pic>
    </p:spTree>
    <p:extLst>
      <p:ext uri="{BB962C8B-B14F-4D97-AF65-F5344CB8AC3E}">
        <p14:creationId xmlns:p14="http://schemas.microsoft.com/office/powerpoint/2010/main" val="25245353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E84F7EF-2530-DDA7-A2D1-44966A3DAF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723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84F7EF-2530-DDA7-A2D1-44966A3DA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FB01F35-F791-2AFC-0FB3-FFFF9D018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Herzlich Willkommen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40AE05-1D6C-0F32-AF86-974C98CA8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30E584-1558-A81D-30EF-5F63395BA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E65303B2-315F-9939-2FF6-9D64E15AA5DD}"/>
              </a:ext>
            </a:extLst>
          </p:cNvPr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3063773" y="3516691"/>
            <a:ext cx="2925544" cy="1754326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400" dirty="0">
                <a:latin typeface="+mj-lt"/>
              </a:rPr>
              <a:t>Name Vorname, </a:t>
            </a:r>
            <a:r>
              <a:rPr lang="de-DE" sz="1400" dirty="0" err="1">
                <a:latin typeface="+mj-lt"/>
              </a:rPr>
              <a:t>Jobbezeichung</a:t>
            </a:r>
            <a:endParaRPr lang="de-DE" sz="1400" dirty="0">
              <a:latin typeface="+mj-lt"/>
            </a:endParaRPr>
          </a:p>
          <a:p>
            <a:r>
              <a:rPr lang="de-DE" sz="1400" dirty="0"/>
              <a:t>Als Fließtext oder Lauftext.</a:t>
            </a:r>
          </a:p>
          <a:p>
            <a:r>
              <a:rPr lang="de-DE" sz="1400" dirty="0"/>
              <a:t>Als Fließtext oder Lauftext bezeichnet man im Schriftsatz durchgängigen Text</a:t>
            </a:r>
          </a:p>
          <a:p>
            <a:r>
              <a:rPr lang="de-DE" sz="1400" dirty="0"/>
              <a:t>Als Fließtext oder Lauftext.</a:t>
            </a:r>
          </a:p>
        </p:txBody>
      </p:sp>
      <p:pic>
        <p:nvPicPr>
          <p:cNvPr id="19" name="object 4">
            <a:extLst>
              <a:ext uri="{FF2B5EF4-FFF2-40B4-BE49-F238E27FC236}">
                <a16:creationId xmlns:a16="http://schemas.microsoft.com/office/drawing/2014/main" id="{B161907B-8C72-1C6F-8231-AC29AC65AFC1}"/>
              </a:ext>
            </a:extLst>
          </p:cNvPr>
          <p:cNvPicPr/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990" y="2060575"/>
            <a:ext cx="2349787" cy="3213348"/>
          </a:xfrm>
          <a:prstGeom prst="roundRect">
            <a:avLst>
              <a:gd name="adj" fmla="val 6738"/>
            </a:avLst>
          </a:prstGeom>
        </p:spPr>
      </p:pic>
      <p:sp>
        <p:nvSpPr>
          <p:cNvPr id="20" name="object 5">
            <a:extLst>
              <a:ext uri="{FF2B5EF4-FFF2-40B4-BE49-F238E27FC236}">
                <a16:creationId xmlns:a16="http://schemas.microsoft.com/office/drawing/2014/main" id="{3AD476CD-06A2-B6E1-9895-F81FA2E781F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8412" y="5744022"/>
            <a:ext cx="2218621" cy="43293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400" dirty="0"/>
              <a:t>Kontakt: </a:t>
            </a:r>
            <a:br>
              <a:rPr lang="de-DE" sz="1400" dirty="0"/>
            </a:br>
            <a:r>
              <a:rPr lang="de-DE" sz="140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400" dirty="0"/>
          </a:p>
        </p:txBody>
      </p:sp>
      <p:grpSp>
        <p:nvGrpSpPr>
          <p:cNvPr id="21" name="object 6">
            <a:extLst>
              <a:ext uri="{FF2B5EF4-FFF2-40B4-BE49-F238E27FC236}">
                <a16:creationId xmlns:a16="http://schemas.microsoft.com/office/drawing/2014/main" id="{1BFB995C-0E2C-010E-2D1F-3CE83ABE895C}"/>
              </a:ext>
            </a:extLst>
          </p:cNvPr>
          <p:cNvGrpSpPr/>
          <p:nvPr/>
        </p:nvGrpSpPr>
        <p:grpSpPr>
          <a:xfrm>
            <a:off x="4961880" y="5429250"/>
            <a:ext cx="771525" cy="771525"/>
            <a:chOff x="5182438" y="5416397"/>
            <a:chExt cx="771525" cy="771525"/>
          </a:xfrm>
        </p:grpSpPr>
        <p:sp>
          <p:nvSpPr>
            <p:cNvPr id="22" name="object 7">
              <a:extLst>
                <a:ext uri="{FF2B5EF4-FFF2-40B4-BE49-F238E27FC236}">
                  <a16:creationId xmlns:a16="http://schemas.microsoft.com/office/drawing/2014/main" id="{8A9F3C75-D464-F7CC-3EA5-4CF172B82D89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3" name="object 8">
              <a:extLst>
                <a:ext uri="{FF2B5EF4-FFF2-40B4-BE49-F238E27FC236}">
                  <a16:creationId xmlns:a16="http://schemas.microsoft.com/office/drawing/2014/main" id="{A2503C98-1AE9-EFFC-E91E-8DCE40328033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4" name="object 9">
              <a:extLst>
                <a:ext uri="{FF2B5EF4-FFF2-40B4-BE49-F238E27FC236}">
                  <a16:creationId xmlns:a16="http://schemas.microsoft.com/office/drawing/2014/main" id="{F1A34BA1-AE42-1C69-6B31-C1AB5EC03F62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5" name="object 10">
              <a:extLst>
                <a:ext uri="{FF2B5EF4-FFF2-40B4-BE49-F238E27FC236}">
                  <a16:creationId xmlns:a16="http://schemas.microsoft.com/office/drawing/2014/main" id="{14DBD457-908B-9C29-DED5-B4294D7A5C52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6" name="object 11">
              <a:extLst>
                <a:ext uri="{FF2B5EF4-FFF2-40B4-BE49-F238E27FC236}">
                  <a16:creationId xmlns:a16="http://schemas.microsoft.com/office/drawing/2014/main" id="{8C5DCD99-F8C9-4F76-A6E3-D390B10959A6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7" name="object 12">
              <a:extLst>
                <a:ext uri="{FF2B5EF4-FFF2-40B4-BE49-F238E27FC236}">
                  <a16:creationId xmlns:a16="http://schemas.microsoft.com/office/drawing/2014/main" id="{1E57D099-8766-5993-8587-A3B3DA427028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8" name="object 13">
              <a:extLst>
                <a:ext uri="{FF2B5EF4-FFF2-40B4-BE49-F238E27FC236}">
                  <a16:creationId xmlns:a16="http://schemas.microsoft.com/office/drawing/2014/main" id="{A5FF7538-9DE5-3065-B5B0-93D95B5337A0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29" name="object 14">
              <a:extLst>
                <a:ext uri="{FF2B5EF4-FFF2-40B4-BE49-F238E27FC236}">
                  <a16:creationId xmlns:a16="http://schemas.microsoft.com/office/drawing/2014/main" id="{8E978AE2-857B-55B5-A750-DEF6845CC85C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</p:grpSp>
      <p:sp>
        <p:nvSpPr>
          <p:cNvPr id="8" name="Inhaltsplatzhalter 14">
            <a:extLst>
              <a:ext uri="{FF2B5EF4-FFF2-40B4-BE49-F238E27FC236}">
                <a16:creationId xmlns:a16="http://schemas.microsoft.com/office/drawing/2014/main" id="{18F0999B-9FFC-61EE-7E52-DE5AE98481A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858469" y="3516691"/>
            <a:ext cx="2925544" cy="17543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r>
              <a:rPr lang="de-DE" sz="1400" dirty="0">
                <a:latin typeface="+mj-lt"/>
              </a:rPr>
              <a:t>Name Vorname, </a:t>
            </a:r>
            <a:r>
              <a:rPr lang="de-DE" sz="1400" dirty="0" err="1">
                <a:latin typeface="+mj-lt"/>
              </a:rPr>
              <a:t>Jobbezeichung</a:t>
            </a:r>
            <a:endParaRPr lang="de-DE" sz="1400" dirty="0">
              <a:latin typeface="+mj-lt"/>
            </a:endParaRPr>
          </a:p>
          <a:p>
            <a:r>
              <a:rPr lang="de-DE" sz="1400" dirty="0"/>
              <a:t>Als Fließtext oder Lauftext.</a:t>
            </a:r>
          </a:p>
          <a:p>
            <a:r>
              <a:rPr lang="de-DE" sz="1400" dirty="0"/>
              <a:t>Als Fließtext oder Lauftext bezeichnet man im Schriftsatz durchgängigen Text</a:t>
            </a:r>
          </a:p>
          <a:p>
            <a:r>
              <a:rPr lang="de-DE" sz="1400" dirty="0"/>
              <a:t>Als Fließtext oder Lauftext.</a:t>
            </a:r>
          </a:p>
        </p:txBody>
      </p:sp>
      <p:pic>
        <p:nvPicPr>
          <p:cNvPr id="9" name="object 4">
            <a:extLst>
              <a:ext uri="{FF2B5EF4-FFF2-40B4-BE49-F238E27FC236}">
                <a16:creationId xmlns:a16="http://schemas.microsoft.com/office/drawing/2014/main" id="{A29E49D2-0EF3-3B24-A8A6-642397575394}"/>
              </a:ext>
            </a:extLst>
          </p:cNvPr>
          <p:cNvPicPr/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2685" y="2060575"/>
            <a:ext cx="2349787" cy="3213348"/>
          </a:xfrm>
          <a:prstGeom prst="roundRect">
            <a:avLst>
              <a:gd name="adj" fmla="val 6738"/>
            </a:avLst>
          </a:prstGeom>
        </p:spPr>
      </p:pic>
      <p:sp>
        <p:nvSpPr>
          <p:cNvPr id="11" name="object 5">
            <a:extLst>
              <a:ext uri="{FF2B5EF4-FFF2-40B4-BE49-F238E27FC236}">
                <a16:creationId xmlns:a16="http://schemas.microsoft.com/office/drawing/2014/main" id="{FD52DA5C-A7A3-F5E3-C3A2-6AE9879557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03107" y="5744022"/>
            <a:ext cx="2218621" cy="43293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400" dirty="0"/>
              <a:t>Kontakt: </a:t>
            </a:r>
            <a:br>
              <a:rPr lang="de-DE" sz="1400" dirty="0"/>
            </a:br>
            <a:r>
              <a:rPr lang="de-DE" sz="140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400" dirty="0"/>
          </a:p>
        </p:txBody>
      </p:sp>
      <p:grpSp>
        <p:nvGrpSpPr>
          <p:cNvPr id="12" name="object 6">
            <a:extLst>
              <a:ext uri="{FF2B5EF4-FFF2-40B4-BE49-F238E27FC236}">
                <a16:creationId xmlns:a16="http://schemas.microsoft.com/office/drawing/2014/main" id="{B7930F63-67FF-FFE5-58AE-88498C3F868F}"/>
              </a:ext>
            </a:extLst>
          </p:cNvPr>
          <p:cNvGrpSpPr/>
          <p:nvPr/>
        </p:nvGrpSpPr>
        <p:grpSpPr>
          <a:xfrm>
            <a:off x="11012489" y="5429250"/>
            <a:ext cx="771525" cy="771525"/>
            <a:chOff x="5182438" y="5416397"/>
            <a:chExt cx="771525" cy="771525"/>
          </a:xfrm>
        </p:grpSpPr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E9014ECB-E4E4-114B-2AC9-A76C2E3AA3BB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A89AB4E-A7AA-6962-8385-66BE97FF8264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8A2EA94A-A1AC-F570-DAFC-6E37AFC08F5C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7" name="object 10">
              <a:extLst>
                <a:ext uri="{FF2B5EF4-FFF2-40B4-BE49-F238E27FC236}">
                  <a16:creationId xmlns:a16="http://schemas.microsoft.com/office/drawing/2014/main" id="{EBA7469F-0FDD-615A-427F-BA0CBA9F5F36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18" name="object 11">
              <a:extLst>
                <a:ext uri="{FF2B5EF4-FFF2-40B4-BE49-F238E27FC236}">
                  <a16:creationId xmlns:a16="http://schemas.microsoft.com/office/drawing/2014/main" id="{F23F40FA-2B96-C7BD-3053-774FA37022D7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31" name="object 12">
              <a:extLst>
                <a:ext uri="{FF2B5EF4-FFF2-40B4-BE49-F238E27FC236}">
                  <a16:creationId xmlns:a16="http://schemas.microsoft.com/office/drawing/2014/main" id="{878D6BD5-CE95-F5D6-4CE6-75CDD08FB1D8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32" name="object 13">
              <a:extLst>
                <a:ext uri="{FF2B5EF4-FFF2-40B4-BE49-F238E27FC236}">
                  <a16:creationId xmlns:a16="http://schemas.microsoft.com/office/drawing/2014/main" id="{C13D8610-AB53-C062-4387-449EF15097A0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  <p:sp>
          <p:nvSpPr>
            <p:cNvPr id="33" name="object 14">
              <a:extLst>
                <a:ext uri="{FF2B5EF4-FFF2-40B4-BE49-F238E27FC236}">
                  <a16:creationId xmlns:a16="http://schemas.microsoft.com/office/drawing/2014/main" id="{3F168D9F-577F-B887-2A34-3BEAF175CAE6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808700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E84F7EF-2530-DDA7-A2D1-44966A3DAF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296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84F7EF-2530-DDA7-A2D1-44966A3DA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FB01F35-F791-2AFC-0FB3-FFFF9D018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415498"/>
          </a:xfrm>
        </p:spPr>
        <p:txBody>
          <a:bodyPr vert="horz"/>
          <a:lstStyle/>
          <a:p>
            <a:r>
              <a:rPr lang="de-DE" dirty="0"/>
              <a:t>Herzlich Willkommen!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E65303B2-315F-9939-2FF6-9D64E15AA5D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Name Vorname, </a:t>
            </a:r>
            <a:r>
              <a:rPr lang="de-DE" dirty="0" err="1">
                <a:latin typeface="+mj-lt"/>
              </a:rPr>
              <a:t>Jobbezeichung</a:t>
            </a:r>
            <a:endParaRPr lang="de-DE" dirty="0">
              <a:latin typeface="+mj-lt"/>
            </a:endParaRPr>
          </a:p>
          <a:p>
            <a:r>
              <a:rPr lang="de-DE" dirty="0"/>
              <a:t>Als Fließtext oder Lauftext.</a:t>
            </a:r>
          </a:p>
          <a:p>
            <a:r>
              <a:rPr lang="de-DE" dirty="0"/>
              <a:t>Als Fließtext oder Lauftext bezeichnet man im Schriftsatz durchgängigen Text</a:t>
            </a:r>
          </a:p>
          <a:p>
            <a:r>
              <a:rPr lang="de-DE" dirty="0"/>
              <a:t>Als Fließtext oder Lauftext.</a:t>
            </a:r>
          </a:p>
          <a:p>
            <a:endParaRPr lang="de-DE" dirty="0"/>
          </a:p>
        </p:txBody>
      </p:sp>
      <p:pic>
        <p:nvPicPr>
          <p:cNvPr id="7" name="object 4">
            <a:extLst>
              <a:ext uri="{FF2B5EF4-FFF2-40B4-BE49-F238E27FC236}">
                <a16:creationId xmlns:a16="http://schemas.microsoft.com/office/drawing/2014/main" id="{A4492A37-6B20-DBD1-AC86-7CBF6E315A48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40AE05-1D6C-0F32-AF86-974C98CA8D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30E584-1558-A81D-30EF-5F63395BA6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16" name="object 5">
            <a:extLst>
              <a:ext uri="{FF2B5EF4-FFF2-40B4-BE49-F238E27FC236}">
                <a16:creationId xmlns:a16="http://schemas.microsoft.com/office/drawing/2014/main" id="{D2999CED-7C3E-F0B1-FD73-28B91FE4740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7990" y="5702920"/>
            <a:ext cx="3352071" cy="2387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700" marR="5080">
              <a:lnSpc>
                <a:spcPct val="104200"/>
              </a:lnSpc>
              <a:spcBef>
                <a:spcPts val="20"/>
              </a:spcBef>
            </a:pPr>
            <a:r>
              <a:rPr lang="de-DE" sz="1600" dirty="0"/>
              <a:t>Kontakt: </a:t>
            </a:r>
            <a:r>
              <a:rPr lang="de-DE" sz="16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me.vorname@dallmer.de</a:t>
            </a:r>
            <a:endParaRPr lang="de-DE" sz="1600" dirty="0"/>
          </a:p>
        </p:txBody>
      </p:sp>
      <p:grpSp>
        <p:nvGrpSpPr>
          <p:cNvPr id="17" name="object 6">
            <a:extLst>
              <a:ext uri="{FF2B5EF4-FFF2-40B4-BE49-F238E27FC236}">
                <a16:creationId xmlns:a16="http://schemas.microsoft.com/office/drawing/2014/main" id="{16CAF74C-678C-086F-FA80-E70987320D60}"/>
              </a:ext>
            </a:extLst>
          </p:cNvPr>
          <p:cNvGrpSpPr/>
          <p:nvPr/>
        </p:nvGrpSpPr>
        <p:grpSpPr>
          <a:xfrm>
            <a:off x="4964435" y="5416397"/>
            <a:ext cx="771525" cy="771525"/>
            <a:chOff x="5182438" y="5416397"/>
            <a:chExt cx="771525" cy="771525"/>
          </a:xfrm>
        </p:grpSpPr>
        <p:sp>
          <p:nvSpPr>
            <p:cNvPr id="18" name="object 7">
              <a:extLst>
                <a:ext uri="{FF2B5EF4-FFF2-40B4-BE49-F238E27FC236}">
                  <a16:creationId xmlns:a16="http://schemas.microsoft.com/office/drawing/2014/main" id="{F27D48D0-C884-1BCD-EED6-ADD8FB3F3E26}"/>
                </a:ext>
              </a:extLst>
            </p:cNvPr>
            <p:cNvSpPr/>
            <p:nvPr/>
          </p:nvSpPr>
          <p:spPr>
            <a:xfrm>
              <a:off x="5182438" y="5416397"/>
              <a:ext cx="160020" cy="771525"/>
            </a:xfrm>
            <a:custGeom>
              <a:avLst/>
              <a:gdLst/>
              <a:ahLst/>
              <a:cxnLst/>
              <a:rect l="l" t="t" r="r" b="b"/>
              <a:pathLst>
                <a:path w="160020" h="771525">
                  <a:moveTo>
                    <a:pt x="26581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81" y="771245"/>
                  </a:lnTo>
                  <a:lnTo>
                    <a:pt x="26581" y="585076"/>
                  </a:lnTo>
                  <a:close/>
                </a:path>
                <a:path w="160020" h="771525">
                  <a:moveTo>
                    <a:pt x="26581" y="452107"/>
                  </a:moveTo>
                  <a:lnTo>
                    <a:pt x="0" y="452107"/>
                  </a:lnTo>
                  <a:lnTo>
                    <a:pt x="0" y="558495"/>
                  </a:lnTo>
                  <a:lnTo>
                    <a:pt x="26581" y="558495"/>
                  </a:lnTo>
                  <a:lnTo>
                    <a:pt x="26581" y="452107"/>
                  </a:lnTo>
                  <a:close/>
                </a:path>
                <a:path w="160020" h="771525">
                  <a:moveTo>
                    <a:pt x="26581" y="265938"/>
                  </a:moveTo>
                  <a:lnTo>
                    <a:pt x="0" y="265938"/>
                  </a:lnTo>
                  <a:lnTo>
                    <a:pt x="0" y="372313"/>
                  </a:lnTo>
                  <a:lnTo>
                    <a:pt x="26581" y="372313"/>
                  </a:lnTo>
                  <a:lnTo>
                    <a:pt x="26581" y="265938"/>
                  </a:lnTo>
                  <a:close/>
                </a:path>
                <a:path w="160020" h="771525">
                  <a:moveTo>
                    <a:pt x="26581" y="212750"/>
                  </a:moveTo>
                  <a:lnTo>
                    <a:pt x="0" y="212750"/>
                  </a:lnTo>
                  <a:lnTo>
                    <a:pt x="0" y="239344"/>
                  </a:lnTo>
                  <a:lnTo>
                    <a:pt x="26581" y="239344"/>
                  </a:lnTo>
                  <a:lnTo>
                    <a:pt x="26581" y="212750"/>
                  </a:lnTo>
                  <a:close/>
                </a:path>
                <a:path w="160020" h="771525">
                  <a:moveTo>
                    <a:pt x="26581" y="0"/>
                  </a:moveTo>
                  <a:lnTo>
                    <a:pt x="0" y="0"/>
                  </a:lnTo>
                  <a:lnTo>
                    <a:pt x="0" y="53187"/>
                  </a:lnTo>
                  <a:lnTo>
                    <a:pt x="0" y="106375"/>
                  </a:lnTo>
                  <a:lnTo>
                    <a:pt x="0" y="186156"/>
                  </a:lnTo>
                  <a:lnTo>
                    <a:pt x="26581" y="186156"/>
                  </a:lnTo>
                  <a:lnTo>
                    <a:pt x="26581" y="106375"/>
                  </a:lnTo>
                  <a:lnTo>
                    <a:pt x="26581" y="53187"/>
                  </a:lnTo>
                  <a:lnTo>
                    <a:pt x="26581" y="0"/>
                  </a:lnTo>
                  <a:close/>
                </a:path>
                <a:path w="160020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16002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160020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160020" h="771525">
                  <a:moveTo>
                    <a:pt x="132969" y="638263"/>
                  </a:moveTo>
                  <a:lnTo>
                    <a:pt x="106375" y="638263"/>
                  </a:lnTo>
                  <a:lnTo>
                    <a:pt x="79781" y="638263"/>
                  </a:lnTo>
                  <a:lnTo>
                    <a:pt x="53187" y="638263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32969" y="718045"/>
                  </a:lnTo>
                  <a:lnTo>
                    <a:pt x="132969" y="638263"/>
                  </a:lnTo>
                  <a:close/>
                </a:path>
                <a:path w="160020" h="771525">
                  <a:moveTo>
                    <a:pt x="132969" y="53187"/>
                  </a:moveTo>
                  <a:lnTo>
                    <a:pt x="106375" y="53187"/>
                  </a:lnTo>
                  <a:lnTo>
                    <a:pt x="79781" y="53187"/>
                  </a:lnTo>
                  <a:lnTo>
                    <a:pt x="53187" y="53187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32969" y="132969"/>
                  </a:lnTo>
                  <a:lnTo>
                    <a:pt x="132969" y="106375"/>
                  </a:lnTo>
                  <a:lnTo>
                    <a:pt x="132969" y="53187"/>
                  </a:lnTo>
                  <a:close/>
                </a:path>
                <a:path w="160020" h="771525">
                  <a:moveTo>
                    <a:pt x="159562" y="744639"/>
                  </a:moveTo>
                  <a:lnTo>
                    <a:pt x="159562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159562" y="771232"/>
                  </a:lnTo>
                  <a:lnTo>
                    <a:pt x="159562" y="744639"/>
                  </a:lnTo>
                  <a:close/>
                </a:path>
                <a:path w="160020" h="771525">
                  <a:moveTo>
                    <a:pt x="159562" y="585076"/>
                  </a:moveTo>
                  <a:lnTo>
                    <a:pt x="159562" y="585076"/>
                  </a:lnTo>
                  <a:lnTo>
                    <a:pt x="26593" y="585076"/>
                  </a:lnTo>
                  <a:lnTo>
                    <a:pt x="26593" y="611682"/>
                  </a:lnTo>
                  <a:lnTo>
                    <a:pt x="159562" y="611682"/>
                  </a:lnTo>
                  <a:lnTo>
                    <a:pt x="159562" y="585076"/>
                  </a:lnTo>
                  <a:close/>
                </a:path>
                <a:path w="160020" h="771525">
                  <a:moveTo>
                    <a:pt x="159562" y="292531"/>
                  </a:moveTo>
                  <a:lnTo>
                    <a:pt x="132969" y="292531"/>
                  </a:lnTo>
                  <a:lnTo>
                    <a:pt x="132969" y="319125"/>
                  </a:lnTo>
                  <a:lnTo>
                    <a:pt x="106375" y="319125"/>
                  </a:lnTo>
                  <a:lnTo>
                    <a:pt x="106375" y="292531"/>
                  </a:lnTo>
                  <a:lnTo>
                    <a:pt x="132969" y="292531"/>
                  </a:lnTo>
                  <a:lnTo>
                    <a:pt x="132969" y="265938"/>
                  </a:lnTo>
                  <a:lnTo>
                    <a:pt x="106375" y="265938"/>
                  </a:lnTo>
                  <a:lnTo>
                    <a:pt x="79781" y="265938"/>
                  </a:lnTo>
                  <a:lnTo>
                    <a:pt x="53187" y="265938"/>
                  </a:lnTo>
                  <a:lnTo>
                    <a:pt x="53187" y="292531"/>
                  </a:ln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372313"/>
                  </a:lnTo>
                  <a:lnTo>
                    <a:pt x="79781" y="372313"/>
                  </a:lnTo>
                  <a:lnTo>
                    <a:pt x="79781" y="345719"/>
                  </a:lnTo>
                  <a:lnTo>
                    <a:pt x="106375" y="345719"/>
                  </a:lnTo>
                  <a:lnTo>
                    <a:pt x="106375" y="398907"/>
                  </a:lnTo>
                  <a:lnTo>
                    <a:pt x="132969" y="398907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05294"/>
                  </a:lnTo>
                  <a:lnTo>
                    <a:pt x="79781" y="505294"/>
                  </a:lnTo>
                  <a:lnTo>
                    <a:pt x="79781" y="531888"/>
                  </a:lnTo>
                  <a:lnTo>
                    <a:pt x="106375" y="531888"/>
                  </a:lnTo>
                  <a:lnTo>
                    <a:pt x="132969" y="531888"/>
                  </a:lnTo>
                  <a:lnTo>
                    <a:pt x="132969" y="505282"/>
                  </a:lnTo>
                  <a:lnTo>
                    <a:pt x="159562" y="505282"/>
                  </a:lnTo>
                  <a:lnTo>
                    <a:pt x="159562" y="372313"/>
                  </a:lnTo>
                  <a:lnTo>
                    <a:pt x="132969" y="372313"/>
                  </a:lnTo>
                  <a:lnTo>
                    <a:pt x="132969" y="345719"/>
                  </a:lnTo>
                  <a:lnTo>
                    <a:pt x="159562" y="345719"/>
                  </a:lnTo>
                  <a:lnTo>
                    <a:pt x="159562" y="292531"/>
                  </a:lnTo>
                  <a:close/>
                </a:path>
                <a:path w="160020" h="771525">
                  <a:moveTo>
                    <a:pt x="159562" y="212750"/>
                  </a:moveTo>
                  <a:lnTo>
                    <a:pt x="132969" y="212750"/>
                  </a:lnTo>
                  <a:lnTo>
                    <a:pt x="106375" y="212750"/>
                  </a:lnTo>
                  <a:lnTo>
                    <a:pt x="79781" y="212750"/>
                  </a:lnTo>
                  <a:lnTo>
                    <a:pt x="53187" y="212750"/>
                  </a:lnTo>
                  <a:lnTo>
                    <a:pt x="53187" y="239344"/>
                  </a:lnTo>
                  <a:lnTo>
                    <a:pt x="79781" y="239344"/>
                  </a:lnTo>
                  <a:lnTo>
                    <a:pt x="106375" y="239344"/>
                  </a:lnTo>
                  <a:lnTo>
                    <a:pt x="132969" y="239344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12750"/>
                  </a:lnTo>
                  <a:close/>
                </a:path>
                <a:path w="160020" h="771525">
                  <a:moveTo>
                    <a:pt x="159562" y="159562"/>
                  </a:moveTo>
                  <a:lnTo>
                    <a:pt x="159562" y="159562"/>
                  </a:lnTo>
                  <a:lnTo>
                    <a:pt x="26593" y="159562"/>
                  </a:lnTo>
                  <a:lnTo>
                    <a:pt x="26593" y="186156"/>
                  </a:lnTo>
                  <a:lnTo>
                    <a:pt x="159562" y="186156"/>
                  </a:lnTo>
                  <a:lnTo>
                    <a:pt x="159562" y="159562"/>
                  </a:lnTo>
                  <a:close/>
                </a:path>
                <a:path w="160020" h="771525">
                  <a:moveTo>
                    <a:pt x="159562" y="0"/>
                  </a:moveTo>
                  <a:lnTo>
                    <a:pt x="159562" y="0"/>
                  </a:lnTo>
                  <a:lnTo>
                    <a:pt x="26593" y="0"/>
                  </a:lnTo>
                  <a:lnTo>
                    <a:pt x="26593" y="26593"/>
                  </a:lnTo>
                  <a:lnTo>
                    <a:pt x="159562" y="26593"/>
                  </a:lnTo>
                  <a:lnTo>
                    <a:pt x="159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0" name="object 8">
              <a:extLst>
                <a:ext uri="{FF2B5EF4-FFF2-40B4-BE49-F238E27FC236}">
                  <a16:creationId xmlns:a16="http://schemas.microsoft.com/office/drawing/2014/main" id="{3341044C-9644-AE11-208F-46F1E7305B35}"/>
                </a:ext>
              </a:extLst>
            </p:cNvPr>
            <p:cNvSpPr/>
            <p:nvPr/>
          </p:nvSpPr>
          <p:spPr>
            <a:xfrm>
              <a:off x="5355298" y="5416397"/>
              <a:ext cx="0" cy="558800"/>
            </a:xfrm>
            <a:custGeom>
              <a:avLst/>
              <a:gdLst/>
              <a:ahLst/>
              <a:cxnLst/>
              <a:rect l="l" t="t" r="r" b="b"/>
              <a:pathLst>
                <a:path h="558800">
                  <a:moveTo>
                    <a:pt x="0" y="0"/>
                  </a:moveTo>
                  <a:lnTo>
                    <a:pt x="0" y="558482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1" name="object 9">
              <a:extLst>
                <a:ext uri="{FF2B5EF4-FFF2-40B4-BE49-F238E27FC236}">
                  <a16:creationId xmlns:a16="http://schemas.microsoft.com/office/drawing/2014/main" id="{0558DB21-B0BD-49D3-95B0-DF9A11E0D6F5}"/>
                </a:ext>
              </a:extLst>
            </p:cNvPr>
            <p:cNvSpPr/>
            <p:nvPr/>
          </p:nvSpPr>
          <p:spPr>
            <a:xfrm>
              <a:off x="5342001" y="5416397"/>
              <a:ext cx="292735" cy="771525"/>
            </a:xfrm>
            <a:custGeom>
              <a:avLst/>
              <a:gdLst/>
              <a:ahLst/>
              <a:cxnLst/>
              <a:rect l="l" t="t" r="r" b="b"/>
              <a:pathLst>
                <a:path w="292735" h="771525">
                  <a:moveTo>
                    <a:pt x="26593" y="585076"/>
                  </a:moveTo>
                  <a:lnTo>
                    <a:pt x="0" y="585076"/>
                  </a:lnTo>
                  <a:lnTo>
                    <a:pt x="0" y="771245"/>
                  </a:lnTo>
                  <a:lnTo>
                    <a:pt x="26593" y="771245"/>
                  </a:lnTo>
                  <a:lnTo>
                    <a:pt x="26593" y="585076"/>
                  </a:lnTo>
                  <a:close/>
                </a:path>
                <a:path w="292735" h="771525">
                  <a:moveTo>
                    <a:pt x="53187" y="478701"/>
                  </a:moveTo>
                  <a:lnTo>
                    <a:pt x="26593" y="478701"/>
                  </a:lnTo>
                  <a:lnTo>
                    <a:pt x="26593" y="505294"/>
                  </a:lnTo>
                  <a:lnTo>
                    <a:pt x="53187" y="505294"/>
                  </a:lnTo>
                  <a:lnTo>
                    <a:pt x="53187" y="478701"/>
                  </a:lnTo>
                  <a:close/>
                </a:path>
                <a:path w="292735" h="771525">
                  <a:moveTo>
                    <a:pt x="53187" y="425513"/>
                  </a:moveTo>
                  <a:lnTo>
                    <a:pt x="26593" y="425513"/>
                  </a:lnTo>
                  <a:lnTo>
                    <a:pt x="26593" y="452107"/>
                  </a:lnTo>
                  <a:lnTo>
                    <a:pt x="53187" y="452107"/>
                  </a:lnTo>
                  <a:lnTo>
                    <a:pt x="53187" y="425513"/>
                  </a:lnTo>
                  <a:close/>
                </a:path>
                <a:path w="292735" h="771525">
                  <a:moveTo>
                    <a:pt x="53187" y="292531"/>
                  </a:moveTo>
                  <a:lnTo>
                    <a:pt x="26593" y="292531"/>
                  </a:lnTo>
                  <a:lnTo>
                    <a:pt x="26593" y="319125"/>
                  </a:lnTo>
                  <a:lnTo>
                    <a:pt x="53187" y="319125"/>
                  </a:lnTo>
                  <a:lnTo>
                    <a:pt x="53187" y="292531"/>
                  </a:lnTo>
                  <a:close/>
                </a:path>
                <a:path w="292735" h="771525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292735" h="771525">
                  <a:moveTo>
                    <a:pt x="79781" y="744639"/>
                  </a:moveTo>
                  <a:lnTo>
                    <a:pt x="53187" y="744639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79781" y="744639"/>
                  </a:lnTo>
                  <a:close/>
                </a:path>
                <a:path w="292735" h="771525">
                  <a:moveTo>
                    <a:pt x="79781" y="611670"/>
                  </a:moveTo>
                  <a:lnTo>
                    <a:pt x="53187" y="611670"/>
                  </a:lnTo>
                  <a:lnTo>
                    <a:pt x="53187" y="718045"/>
                  </a:lnTo>
                  <a:lnTo>
                    <a:pt x="79781" y="718045"/>
                  </a:lnTo>
                  <a:lnTo>
                    <a:pt x="79781" y="611670"/>
                  </a:lnTo>
                  <a:close/>
                </a:path>
                <a:path w="292735" h="771525">
                  <a:moveTo>
                    <a:pt x="79781" y="505294"/>
                  </a:moveTo>
                  <a:lnTo>
                    <a:pt x="53187" y="505294"/>
                  </a:lnTo>
                  <a:lnTo>
                    <a:pt x="53187" y="585076"/>
                  </a:lnTo>
                  <a:lnTo>
                    <a:pt x="79781" y="585076"/>
                  </a:lnTo>
                  <a:lnTo>
                    <a:pt x="79781" y="505294"/>
                  </a:lnTo>
                  <a:close/>
                </a:path>
                <a:path w="292735" h="771525">
                  <a:moveTo>
                    <a:pt x="79781" y="372313"/>
                  </a:moveTo>
                  <a:lnTo>
                    <a:pt x="53187" y="372313"/>
                  </a:lnTo>
                  <a:lnTo>
                    <a:pt x="26593" y="372313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79781" y="398907"/>
                  </a:lnTo>
                  <a:lnTo>
                    <a:pt x="79781" y="372313"/>
                  </a:lnTo>
                  <a:close/>
                </a:path>
                <a:path w="292735" h="771525">
                  <a:moveTo>
                    <a:pt x="79781" y="319125"/>
                  </a:moveTo>
                  <a:lnTo>
                    <a:pt x="53187" y="319125"/>
                  </a:lnTo>
                  <a:lnTo>
                    <a:pt x="53187" y="345719"/>
                  </a:lnTo>
                  <a:lnTo>
                    <a:pt x="79781" y="345719"/>
                  </a:lnTo>
                  <a:lnTo>
                    <a:pt x="79781" y="319125"/>
                  </a:lnTo>
                  <a:close/>
                </a:path>
                <a:path w="292735" h="771525">
                  <a:moveTo>
                    <a:pt x="79781" y="53187"/>
                  </a:moveTo>
                  <a:lnTo>
                    <a:pt x="53187" y="53187"/>
                  </a:lnTo>
                  <a:lnTo>
                    <a:pt x="53187" y="106375"/>
                  </a:lnTo>
                  <a:lnTo>
                    <a:pt x="53187" y="212763"/>
                  </a:lnTo>
                  <a:lnTo>
                    <a:pt x="79781" y="212763"/>
                  </a:lnTo>
                  <a:lnTo>
                    <a:pt x="79781" y="106375"/>
                  </a:lnTo>
                  <a:lnTo>
                    <a:pt x="79781" y="53187"/>
                  </a:lnTo>
                  <a:close/>
                </a:path>
                <a:path w="292735" h="771525">
                  <a:moveTo>
                    <a:pt x="106387" y="372313"/>
                  </a:moveTo>
                  <a:lnTo>
                    <a:pt x="79794" y="372313"/>
                  </a:lnTo>
                  <a:lnTo>
                    <a:pt x="79794" y="398907"/>
                  </a:lnTo>
                  <a:lnTo>
                    <a:pt x="106387" y="398907"/>
                  </a:lnTo>
                  <a:lnTo>
                    <a:pt x="106387" y="372313"/>
                  </a:lnTo>
                  <a:close/>
                </a:path>
                <a:path w="292735" h="771525">
                  <a:moveTo>
                    <a:pt x="132981" y="345719"/>
                  </a:moveTo>
                  <a:lnTo>
                    <a:pt x="106387" y="345719"/>
                  </a:lnTo>
                  <a:lnTo>
                    <a:pt x="106387" y="372313"/>
                  </a:lnTo>
                  <a:lnTo>
                    <a:pt x="132981" y="372313"/>
                  </a:lnTo>
                  <a:lnTo>
                    <a:pt x="132981" y="345719"/>
                  </a:lnTo>
                  <a:close/>
                </a:path>
                <a:path w="292735" h="771525">
                  <a:moveTo>
                    <a:pt x="132981" y="159562"/>
                  </a:moveTo>
                  <a:lnTo>
                    <a:pt x="106387" y="159562"/>
                  </a:lnTo>
                  <a:lnTo>
                    <a:pt x="106387" y="212750"/>
                  </a:lnTo>
                  <a:lnTo>
                    <a:pt x="79794" y="212750"/>
                  </a:lnTo>
                  <a:lnTo>
                    <a:pt x="79794" y="319125"/>
                  </a:lnTo>
                  <a:lnTo>
                    <a:pt x="106387" y="319125"/>
                  </a:lnTo>
                  <a:lnTo>
                    <a:pt x="106387" y="292531"/>
                  </a:lnTo>
                  <a:lnTo>
                    <a:pt x="132981" y="292531"/>
                  </a:lnTo>
                  <a:lnTo>
                    <a:pt x="132981" y="265938"/>
                  </a:lnTo>
                  <a:lnTo>
                    <a:pt x="106387" y="265938"/>
                  </a:lnTo>
                  <a:lnTo>
                    <a:pt x="106387" y="239344"/>
                  </a:lnTo>
                  <a:lnTo>
                    <a:pt x="132981" y="239344"/>
                  </a:lnTo>
                  <a:lnTo>
                    <a:pt x="132981" y="159562"/>
                  </a:lnTo>
                  <a:close/>
                </a:path>
                <a:path w="292735" h="771525">
                  <a:moveTo>
                    <a:pt x="159575" y="106375"/>
                  </a:moveTo>
                  <a:lnTo>
                    <a:pt x="132981" y="106375"/>
                  </a:lnTo>
                  <a:lnTo>
                    <a:pt x="132981" y="132969"/>
                  </a:lnTo>
                  <a:lnTo>
                    <a:pt x="159575" y="132969"/>
                  </a:lnTo>
                  <a:lnTo>
                    <a:pt x="159575" y="106375"/>
                  </a:lnTo>
                  <a:close/>
                </a:path>
                <a:path w="292735" h="771525">
                  <a:moveTo>
                    <a:pt x="186169" y="345719"/>
                  </a:moveTo>
                  <a:lnTo>
                    <a:pt x="159575" y="345719"/>
                  </a:lnTo>
                  <a:lnTo>
                    <a:pt x="159575" y="372313"/>
                  </a:lnTo>
                  <a:lnTo>
                    <a:pt x="186169" y="372313"/>
                  </a:lnTo>
                  <a:lnTo>
                    <a:pt x="186169" y="345719"/>
                  </a:lnTo>
                  <a:close/>
                </a:path>
                <a:path w="292735" h="771525">
                  <a:moveTo>
                    <a:pt x="186169" y="132969"/>
                  </a:moveTo>
                  <a:lnTo>
                    <a:pt x="159575" y="132969"/>
                  </a:lnTo>
                  <a:lnTo>
                    <a:pt x="159575" y="186156"/>
                  </a:lnTo>
                  <a:lnTo>
                    <a:pt x="186169" y="186156"/>
                  </a:lnTo>
                  <a:lnTo>
                    <a:pt x="186169" y="132969"/>
                  </a:lnTo>
                  <a:close/>
                </a:path>
                <a:path w="292735" h="771525">
                  <a:moveTo>
                    <a:pt x="212763" y="26593"/>
                  </a:moveTo>
                  <a:lnTo>
                    <a:pt x="186169" y="26593"/>
                  </a:lnTo>
                  <a:lnTo>
                    <a:pt x="159575" y="26593"/>
                  </a:lnTo>
                  <a:lnTo>
                    <a:pt x="132981" y="26593"/>
                  </a:lnTo>
                  <a:lnTo>
                    <a:pt x="132981" y="0"/>
                  </a:lnTo>
                  <a:lnTo>
                    <a:pt x="106387" y="0"/>
                  </a:lnTo>
                  <a:lnTo>
                    <a:pt x="106387" y="53187"/>
                  </a:lnTo>
                  <a:lnTo>
                    <a:pt x="106387" y="79781"/>
                  </a:lnTo>
                  <a:lnTo>
                    <a:pt x="132981" y="79781"/>
                  </a:lnTo>
                  <a:lnTo>
                    <a:pt x="159575" y="79781"/>
                  </a:lnTo>
                  <a:lnTo>
                    <a:pt x="186169" y="79781"/>
                  </a:lnTo>
                  <a:lnTo>
                    <a:pt x="186169" y="53187"/>
                  </a:lnTo>
                  <a:lnTo>
                    <a:pt x="212763" y="53187"/>
                  </a:lnTo>
                  <a:lnTo>
                    <a:pt x="212763" y="26593"/>
                  </a:lnTo>
                  <a:close/>
                </a:path>
                <a:path w="292735" h="771525">
                  <a:moveTo>
                    <a:pt x="239356" y="319125"/>
                  </a:moveTo>
                  <a:lnTo>
                    <a:pt x="212763" y="319125"/>
                  </a:lnTo>
                  <a:lnTo>
                    <a:pt x="186169" y="319125"/>
                  </a:lnTo>
                  <a:lnTo>
                    <a:pt x="186169" y="345719"/>
                  </a:lnTo>
                  <a:lnTo>
                    <a:pt x="212763" y="345719"/>
                  </a:lnTo>
                  <a:lnTo>
                    <a:pt x="212763" y="372313"/>
                  </a:lnTo>
                  <a:lnTo>
                    <a:pt x="239356" y="372313"/>
                  </a:lnTo>
                  <a:lnTo>
                    <a:pt x="239356" y="319125"/>
                  </a:lnTo>
                  <a:close/>
                </a:path>
                <a:path w="292735" h="771525">
                  <a:moveTo>
                    <a:pt x="239356" y="0"/>
                  </a:moveTo>
                  <a:lnTo>
                    <a:pt x="212763" y="0"/>
                  </a:lnTo>
                  <a:lnTo>
                    <a:pt x="212763" y="26593"/>
                  </a:lnTo>
                  <a:lnTo>
                    <a:pt x="239356" y="26593"/>
                  </a:lnTo>
                  <a:lnTo>
                    <a:pt x="239356" y="0"/>
                  </a:lnTo>
                  <a:close/>
                </a:path>
                <a:path w="292735" h="771525">
                  <a:moveTo>
                    <a:pt x="265938" y="691451"/>
                  </a:moveTo>
                  <a:lnTo>
                    <a:pt x="265938" y="691451"/>
                  </a:lnTo>
                  <a:lnTo>
                    <a:pt x="132981" y="691451"/>
                  </a:lnTo>
                  <a:lnTo>
                    <a:pt x="132981" y="664857"/>
                  </a:lnTo>
                  <a:lnTo>
                    <a:pt x="106387" y="664857"/>
                  </a:lnTo>
                  <a:lnTo>
                    <a:pt x="106387" y="691451"/>
                  </a:lnTo>
                  <a:lnTo>
                    <a:pt x="79794" y="691451"/>
                  </a:lnTo>
                  <a:lnTo>
                    <a:pt x="79794" y="771245"/>
                  </a:lnTo>
                  <a:lnTo>
                    <a:pt x="106387" y="771245"/>
                  </a:lnTo>
                  <a:lnTo>
                    <a:pt x="132981" y="771232"/>
                  </a:lnTo>
                  <a:lnTo>
                    <a:pt x="132981" y="744651"/>
                  </a:lnTo>
                  <a:lnTo>
                    <a:pt x="159575" y="744651"/>
                  </a:lnTo>
                  <a:lnTo>
                    <a:pt x="159575" y="771232"/>
                  </a:lnTo>
                  <a:lnTo>
                    <a:pt x="186169" y="771232"/>
                  </a:lnTo>
                  <a:lnTo>
                    <a:pt x="212763" y="771232"/>
                  </a:lnTo>
                  <a:lnTo>
                    <a:pt x="212763" y="744639"/>
                  </a:lnTo>
                  <a:lnTo>
                    <a:pt x="186169" y="744639"/>
                  </a:lnTo>
                  <a:lnTo>
                    <a:pt x="159575" y="744639"/>
                  </a:lnTo>
                  <a:lnTo>
                    <a:pt x="159575" y="718045"/>
                  </a:lnTo>
                  <a:lnTo>
                    <a:pt x="186169" y="718045"/>
                  </a:lnTo>
                  <a:lnTo>
                    <a:pt x="212763" y="718045"/>
                  </a:lnTo>
                  <a:lnTo>
                    <a:pt x="239356" y="718045"/>
                  </a:lnTo>
                  <a:lnTo>
                    <a:pt x="265938" y="718045"/>
                  </a:lnTo>
                  <a:lnTo>
                    <a:pt x="265938" y="691451"/>
                  </a:lnTo>
                  <a:close/>
                </a:path>
                <a:path w="292735" h="771525">
                  <a:moveTo>
                    <a:pt x="265938" y="638263"/>
                  </a:moveTo>
                  <a:lnTo>
                    <a:pt x="239356" y="638263"/>
                  </a:lnTo>
                  <a:lnTo>
                    <a:pt x="239356" y="664857"/>
                  </a:lnTo>
                  <a:lnTo>
                    <a:pt x="265938" y="664857"/>
                  </a:lnTo>
                  <a:lnTo>
                    <a:pt x="265938" y="638263"/>
                  </a:lnTo>
                  <a:close/>
                </a:path>
                <a:path w="292735" h="771525">
                  <a:moveTo>
                    <a:pt x="265938" y="585076"/>
                  </a:moveTo>
                  <a:lnTo>
                    <a:pt x="239356" y="585076"/>
                  </a:lnTo>
                  <a:lnTo>
                    <a:pt x="239356" y="611682"/>
                  </a:lnTo>
                  <a:lnTo>
                    <a:pt x="265938" y="611682"/>
                  </a:lnTo>
                  <a:lnTo>
                    <a:pt x="265938" y="585076"/>
                  </a:lnTo>
                  <a:close/>
                </a:path>
                <a:path w="292735" h="771525">
                  <a:moveTo>
                    <a:pt x="265938" y="478701"/>
                  </a:moveTo>
                  <a:lnTo>
                    <a:pt x="239356" y="478701"/>
                  </a:lnTo>
                  <a:lnTo>
                    <a:pt x="239356" y="531888"/>
                  </a:lnTo>
                  <a:lnTo>
                    <a:pt x="212763" y="531888"/>
                  </a:lnTo>
                  <a:lnTo>
                    <a:pt x="186169" y="531888"/>
                  </a:lnTo>
                  <a:lnTo>
                    <a:pt x="186169" y="478701"/>
                  </a:lnTo>
                  <a:lnTo>
                    <a:pt x="159575" y="478701"/>
                  </a:lnTo>
                  <a:lnTo>
                    <a:pt x="159575" y="452107"/>
                  </a:lnTo>
                  <a:lnTo>
                    <a:pt x="132981" y="452107"/>
                  </a:lnTo>
                  <a:lnTo>
                    <a:pt x="132981" y="425513"/>
                  </a:lnTo>
                  <a:lnTo>
                    <a:pt x="159575" y="425513"/>
                  </a:lnTo>
                  <a:lnTo>
                    <a:pt x="159575" y="452107"/>
                  </a:lnTo>
                  <a:lnTo>
                    <a:pt x="186169" y="452107"/>
                  </a:lnTo>
                  <a:lnTo>
                    <a:pt x="186169" y="478701"/>
                  </a:lnTo>
                  <a:lnTo>
                    <a:pt x="212763" y="478701"/>
                  </a:lnTo>
                  <a:lnTo>
                    <a:pt x="212763" y="452107"/>
                  </a:lnTo>
                  <a:lnTo>
                    <a:pt x="239356" y="452107"/>
                  </a:lnTo>
                  <a:lnTo>
                    <a:pt x="239356" y="425513"/>
                  </a:lnTo>
                  <a:lnTo>
                    <a:pt x="212763" y="425513"/>
                  </a:lnTo>
                  <a:lnTo>
                    <a:pt x="186169" y="425513"/>
                  </a:lnTo>
                  <a:lnTo>
                    <a:pt x="186169" y="398919"/>
                  </a:lnTo>
                  <a:lnTo>
                    <a:pt x="159575" y="398919"/>
                  </a:lnTo>
                  <a:lnTo>
                    <a:pt x="132981" y="398919"/>
                  </a:lnTo>
                  <a:lnTo>
                    <a:pt x="106387" y="398919"/>
                  </a:lnTo>
                  <a:lnTo>
                    <a:pt x="106387" y="452107"/>
                  </a:lnTo>
                  <a:lnTo>
                    <a:pt x="79794" y="452107"/>
                  </a:lnTo>
                  <a:lnTo>
                    <a:pt x="79794" y="505294"/>
                  </a:lnTo>
                  <a:lnTo>
                    <a:pt x="106387" y="505294"/>
                  </a:lnTo>
                  <a:lnTo>
                    <a:pt x="106387" y="478701"/>
                  </a:lnTo>
                  <a:lnTo>
                    <a:pt x="132981" y="478701"/>
                  </a:lnTo>
                  <a:lnTo>
                    <a:pt x="132981" y="505294"/>
                  </a:lnTo>
                  <a:lnTo>
                    <a:pt x="106387" y="505294"/>
                  </a:lnTo>
                  <a:lnTo>
                    <a:pt x="106387" y="531888"/>
                  </a:lnTo>
                  <a:lnTo>
                    <a:pt x="79794" y="531888"/>
                  </a:lnTo>
                  <a:lnTo>
                    <a:pt x="79794" y="558482"/>
                  </a:lnTo>
                  <a:lnTo>
                    <a:pt x="106387" y="558482"/>
                  </a:lnTo>
                  <a:lnTo>
                    <a:pt x="132981" y="558482"/>
                  </a:lnTo>
                  <a:lnTo>
                    <a:pt x="132981" y="531888"/>
                  </a:lnTo>
                  <a:lnTo>
                    <a:pt x="159575" y="531888"/>
                  </a:lnTo>
                  <a:lnTo>
                    <a:pt x="159575" y="585076"/>
                  </a:lnTo>
                  <a:lnTo>
                    <a:pt x="132981" y="585076"/>
                  </a:lnTo>
                  <a:lnTo>
                    <a:pt x="106387" y="585076"/>
                  </a:lnTo>
                  <a:lnTo>
                    <a:pt x="79794" y="585076"/>
                  </a:lnTo>
                  <a:lnTo>
                    <a:pt x="79794" y="611682"/>
                  </a:lnTo>
                  <a:lnTo>
                    <a:pt x="106387" y="611682"/>
                  </a:lnTo>
                  <a:lnTo>
                    <a:pt x="132981" y="611682"/>
                  </a:lnTo>
                  <a:lnTo>
                    <a:pt x="159575" y="611682"/>
                  </a:lnTo>
                  <a:lnTo>
                    <a:pt x="159575" y="638263"/>
                  </a:lnTo>
                  <a:lnTo>
                    <a:pt x="186169" y="638263"/>
                  </a:lnTo>
                  <a:lnTo>
                    <a:pt x="186169" y="558482"/>
                  </a:lnTo>
                  <a:lnTo>
                    <a:pt x="212763" y="558482"/>
                  </a:lnTo>
                  <a:lnTo>
                    <a:pt x="212763" y="585076"/>
                  </a:lnTo>
                  <a:lnTo>
                    <a:pt x="239356" y="585076"/>
                  </a:lnTo>
                  <a:lnTo>
                    <a:pt x="239356" y="558482"/>
                  </a:lnTo>
                  <a:lnTo>
                    <a:pt x="265938" y="558482"/>
                  </a:lnTo>
                  <a:lnTo>
                    <a:pt x="265938" y="478701"/>
                  </a:lnTo>
                  <a:close/>
                </a:path>
                <a:path w="292735" h="771525">
                  <a:moveTo>
                    <a:pt x="265938" y="372313"/>
                  </a:moveTo>
                  <a:lnTo>
                    <a:pt x="239356" y="372313"/>
                  </a:lnTo>
                  <a:lnTo>
                    <a:pt x="239356" y="425500"/>
                  </a:lnTo>
                  <a:lnTo>
                    <a:pt x="265938" y="425500"/>
                  </a:lnTo>
                  <a:lnTo>
                    <a:pt x="265938" y="372313"/>
                  </a:lnTo>
                  <a:close/>
                </a:path>
                <a:path w="292735" h="771525">
                  <a:moveTo>
                    <a:pt x="265938" y="265938"/>
                  </a:moveTo>
                  <a:lnTo>
                    <a:pt x="239356" y="265938"/>
                  </a:lnTo>
                  <a:lnTo>
                    <a:pt x="212763" y="265938"/>
                  </a:lnTo>
                  <a:lnTo>
                    <a:pt x="212763" y="212750"/>
                  </a:lnTo>
                  <a:lnTo>
                    <a:pt x="186169" y="212750"/>
                  </a:lnTo>
                  <a:lnTo>
                    <a:pt x="186169" y="239344"/>
                  </a:lnTo>
                  <a:lnTo>
                    <a:pt x="159575" y="239344"/>
                  </a:lnTo>
                  <a:lnTo>
                    <a:pt x="159575" y="292531"/>
                  </a:lnTo>
                  <a:lnTo>
                    <a:pt x="132981" y="292531"/>
                  </a:lnTo>
                  <a:lnTo>
                    <a:pt x="132981" y="345719"/>
                  </a:lnTo>
                  <a:lnTo>
                    <a:pt x="159575" y="345719"/>
                  </a:lnTo>
                  <a:lnTo>
                    <a:pt x="159575" y="319125"/>
                  </a:lnTo>
                  <a:lnTo>
                    <a:pt x="186169" y="319125"/>
                  </a:lnTo>
                  <a:lnTo>
                    <a:pt x="186169" y="292531"/>
                  </a:lnTo>
                  <a:lnTo>
                    <a:pt x="212763" y="292531"/>
                  </a:lnTo>
                  <a:lnTo>
                    <a:pt x="239356" y="292531"/>
                  </a:lnTo>
                  <a:lnTo>
                    <a:pt x="239356" y="319125"/>
                  </a:lnTo>
                  <a:lnTo>
                    <a:pt x="265938" y="319125"/>
                  </a:lnTo>
                  <a:lnTo>
                    <a:pt x="265938" y="265938"/>
                  </a:lnTo>
                  <a:close/>
                </a:path>
                <a:path w="292735" h="771525">
                  <a:moveTo>
                    <a:pt x="265938" y="132969"/>
                  </a:moveTo>
                  <a:lnTo>
                    <a:pt x="239356" y="132969"/>
                  </a:lnTo>
                  <a:lnTo>
                    <a:pt x="212763" y="132969"/>
                  </a:lnTo>
                  <a:lnTo>
                    <a:pt x="212763" y="212750"/>
                  </a:lnTo>
                  <a:lnTo>
                    <a:pt x="239356" y="212750"/>
                  </a:lnTo>
                  <a:lnTo>
                    <a:pt x="239356" y="159562"/>
                  </a:lnTo>
                  <a:lnTo>
                    <a:pt x="265938" y="159562"/>
                  </a:lnTo>
                  <a:lnTo>
                    <a:pt x="265938" y="132969"/>
                  </a:lnTo>
                  <a:close/>
                </a:path>
                <a:path w="292735" h="771525">
                  <a:moveTo>
                    <a:pt x="265938" y="26593"/>
                  </a:moveTo>
                  <a:lnTo>
                    <a:pt x="239356" y="26593"/>
                  </a:lnTo>
                  <a:lnTo>
                    <a:pt x="239356" y="53187"/>
                  </a:lnTo>
                  <a:lnTo>
                    <a:pt x="239356" y="79781"/>
                  </a:lnTo>
                  <a:lnTo>
                    <a:pt x="212763" y="79781"/>
                  </a:lnTo>
                  <a:lnTo>
                    <a:pt x="186169" y="79781"/>
                  </a:lnTo>
                  <a:lnTo>
                    <a:pt x="186169" y="106375"/>
                  </a:lnTo>
                  <a:lnTo>
                    <a:pt x="212763" y="106375"/>
                  </a:lnTo>
                  <a:lnTo>
                    <a:pt x="239356" y="106375"/>
                  </a:lnTo>
                  <a:lnTo>
                    <a:pt x="265938" y="106375"/>
                  </a:lnTo>
                  <a:lnTo>
                    <a:pt x="265938" y="53187"/>
                  </a:lnTo>
                  <a:lnTo>
                    <a:pt x="265938" y="26593"/>
                  </a:lnTo>
                  <a:close/>
                </a:path>
                <a:path w="292735" h="771525">
                  <a:moveTo>
                    <a:pt x="292544" y="0"/>
                  </a:moveTo>
                  <a:lnTo>
                    <a:pt x="265950" y="0"/>
                  </a:lnTo>
                  <a:lnTo>
                    <a:pt x="265950" y="53187"/>
                  </a:lnTo>
                  <a:lnTo>
                    <a:pt x="292544" y="53187"/>
                  </a:lnTo>
                  <a:lnTo>
                    <a:pt x="2925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2" name="object 10">
              <a:extLst>
                <a:ext uri="{FF2B5EF4-FFF2-40B4-BE49-F238E27FC236}">
                  <a16:creationId xmlns:a16="http://schemas.microsoft.com/office/drawing/2014/main" id="{73153006-2106-8692-630C-EB752AFD8FCF}"/>
                </a:ext>
              </a:extLst>
            </p:cNvPr>
            <p:cNvSpPr/>
            <p:nvPr/>
          </p:nvSpPr>
          <p:spPr>
            <a:xfrm>
              <a:off x="5607952" y="5416397"/>
              <a:ext cx="213360" cy="771525"/>
            </a:xfrm>
            <a:custGeom>
              <a:avLst/>
              <a:gdLst/>
              <a:ahLst/>
              <a:cxnLst/>
              <a:rect l="l" t="t" r="r" b="b"/>
              <a:pathLst>
                <a:path w="213360" h="771525">
                  <a:moveTo>
                    <a:pt x="26593" y="159562"/>
                  </a:moveTo>
                  <a:lnTo>
                    <a:pt x="0" y="159562"/>
                  </a:lnTo>
                  <a:lnTo>
                    <a:pt x="0" y="212750"/>
                  </a:lnTo>
                  <a:lnTo>
                    <a:pt x="26593" y="212750"/>
                  </a:lnTo>
                  <a:lnTo>
                    <a:pt x="26593" y="159562"/>
                  </a:lnTo>
                  <a:close/>
                </a:path>
                <a:path w="213360" h="771525">
                  <a:moveTo>
                    <a:pt x="26593" y="106375"/>
                  </a:moveTo>
                  <a:lnTo>
                    <a:pt x="0" y="106375"/>
                  </a:lnTo>
                  <a:lnTo>
                    <a:pt x="0" y="132969"/>
                  </a:lnTo>
                  <a:lnTo>
                    <a:pt x="26593" y="132969"/>
                  </a:lnTo>
                  <a:lnTo>
                    <a:pt x="26593" y="106375"/>
                  </a:lnTo>
                  <a:close/>
                </a:path>
                <a:path w="213360" h="771525">
                  <a:moveTo>
                    <a:pt x="53187" y="638263"/>
                  </a:moveTo>
                  <a:lnTo>
                    <a:pt x="26593" y="638263"/>
                  </a:lnTo>
                  <a:lnTo>
                    <a:pt x="0" y="638263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64857"/>
                  </a:lnTo>
                  <a:lnTo>
                    <a:pt x="53187" y="664857"/>
                  </a:lnTo>
                  <a:lnTo>
                    <a:pt x="53187" y="638263"/>
                  </a:lnTo>
                  <a:close/>
                </a:path>
                <a:path w="213360" h="771525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58482"/>
                  </a:lnTo>
                  <a:lnTo>
                    <a:pt x="53187" y="558482"/>
                  </a:lnTo>
                  <a:lnTo>
                    <a:pt x="53187" y="531888"/>
                  </a:lnTo>
                  <a:close/>
                </a:path>
                <a:path w="213360" h="771525">
                  <a:moveTo>
                    <a:pt x="53187" y="372313"/>
                  </a:moveTo>
                  <a:lnTo>
                    <a:pt x="26593" y="372313"/>
                  </a:lnTo>
                  <a:lnTo>
                    <a:pt x="26593" y="345719"/>
                  </a:lnTo>
                  <a:lnTo>
                    <a:pt x="0" y="345719"/>
                  </a:lnTo>
                  <a:lnTo>
                    <a:pt x="0" y="425500"/>
                  </a:lnTo>
                  <a:lnTo>
                    <a:pt x="26593" y="425500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72313"/>
                  </a:lnTo>
                  <a:close/>
                </a:path>
                <a:path w="213360" h="771525">
                  <a:moveTo>
                    <a:pt x="53187" y="319125"/>
                  </a:moveTo>
                  <a:lnTo>
                    <a:pt x="26593" y="319125"/>
                  </a:lnTo>
                  <a:lnTo>
                    <a:pt x="26593" y="345719"/>
                  </a:lnTo>
                  <a:lnTo>
                    <a:pt x="53187" y="345719"/>
                  </a:lnTo>
                  <a:lnTo>
                    <a:pt x="53187" y="319125"/>
                  </a:lnTo>
                  <a:close/>
                </a:path>
                <a:path w="213360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39344"/>
                  </a:lnTo>
                  <a:lnTo>
                    <a:pt x="53187" y="239344"/>
                  </a:lnTo>
                  <a:lnTo>
                    <a:pt x="53187" y="212750"/>
                  </a:lnTo>
                  <a:close/>
                </a:path>
                <a:path w="213360" h="771525">
                  <a:moveTo>
                    <a:pt x="53187" y="79781"/>
                  </a:moveTo>
                  <a:lnTo>
                    <a:pt x="26593" y="79781"/>
                  </a:lnTo>
                  <a:lnTo>
                    <a:pt x="26593" y="106375"/>
                  </a:lnTo>
                  <a:lnTo>
                    <a:pt x="53187" y="106375"/>
                  </a:lnTo>
                  <a:lnTo>
                    <a:pt x="53187" y="79781"/>
                  </a:lnTo>
                  <a:close/>
                </a:path>
                <a:path w="213360" h="771525">
                  <a:moveTo>
                    <a:pt x="79781" y="664857"/>
                  </a:moveTo>
                  <a:lnTo>
                    <a:pt x="53187" y="664857"/>
                  </a:lnTo>
                  <a:lnTo>
                    <a:pt x="53187" y="691451"/>
                  </a:lnTo>
                  <a:lnTo>
                    <a:pt x="79781" y="691451"/>
                  </a:lnTo>
                  <a:lnTo>
                    <a:pt x="79781" y="664857"/>
                  </a:lnTo>
                  <a:close/>
                </a:path>
                <a:path w="213360" h="771525">
                  <a:moveTo>
                    <a:pt x="79781" y="265938"/>
                  </a:moveTo>
                  <a:lnTo>
                    <a:pt x="53187" y="265938"/>
                  </a:lnTo>
                  <a:lnTo>
                    <a:pt x="26593" y="265938"/>
                  </a:lnTo>
                  <a:lnTo>
                    <a:pt x="26593" y="239344"/>
                  </a:lnTo>
                  <a:lnTo>
                    <a:pt x="0" y="239344"/>
                  </a:lnTo>
                  <a:lnTo>
                    <a:pt x="0" y="292531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319125"/>
                  </a:lnTo>
                  <a:lnTo>
                    <a:pt x="79781" y="319125"/>
                  </a:lnTo>
                  <a:lnTo>
                    <a:pt x="79781" y="265938"/>
                  </a:lnTo>
                  <a:close/>
                </a:path>
                <a:path w="213360" h="771525">
                  <a:moveTo>
                    <a:pt x="79781" y="159562"/>
                  </a:moveTo>
                  <a:lnTo>
                    <a:pt x="53187" y="159562"/>
                  </a:lnTo>
                  <a:lnTo>
                    <a:pt x="53187" y="186156"/>
                  </a:lnTo>
                  <a:lnTo>
                    <a:pt x="79781" y="186156"/>
                  </a:lnTo>
                  <a:lnTo>
                    <a:pt x="79781" y="159562"/>
                  </a:lnTo>
                  <a:close/>
                </a:path>
                <a:path w="213360" h="771525">
                  <a:moveTo>
                    <a:pt x="79781" y="26593"/>
                  </a:moveTo>
                  <a:lnTo>
                    <a:pt x="53187" y="26593"/>
                  </a:lnTo>
                  <a:lnTo>
                    <a:pt x="26593" y="26593"/>
                  </a:lnTo>
                  <a:lnTo>
                    <a:pt x="26593" y="0"/>
                  </a:lnTo>
                  <a:lnTo>
                    <a:pt x="0" y="0"/>
                  </a:lnTo>
                  <a:lnTo>
                    <a:pt x="0" y="53187"/>
                  </a:lnTo>
                  <a:lnTo>
                    <a:pt x="26593" y="53187"/>
                  </a:lnTo>
                  <a:lnTo>
                    <a:pt x="53187" y="53187"/>
                  </a:lnTo>
                  <a:lnTo>
                    <a:pt x="79781" y="53187"/>
                  </a:lnTo>
                  <a:lnTo>
                    <a:pt x="79781" y="26593"/>
                  </a:lnTo>
                  <a:close/>
                </a:path>
                <a:path w="213360" h="771525">
                  <a:moveTo>
                    <a:pt x="106375" y="691451"/>
                  </a:moveTo>
                  <a:lnTo>
                    <a:pt x="79781" y="691451"/>
                  </a:lnTo>
                  <a:lnTo>
                    <a:pt x="79781" y="718045"/>
                  </a:lnTo>
                  <a:lnTo>
                    <a:pt x="106375" y="718045"/>
                  </a:lnTo>
                  <a:lnTo>
                    <a:pt x="106375" y="691451"/>
                  </a:lnTo>
                  <a:close/>
                </a:path>
                <a:path w="213360" h="771525">
                  <a:moveTo>
                    <a:pt x="132969" y="292531"/>
                  </a:moveTo>
                  <a:lnTo>
                    <a:pt x="106375" y="292531"/>
                  </a:lnTo>
                  <a:lnTo>
                    <a:pt x="106375" y="319125"/>
                  </a:lnTo>
                  <a:lnTo>
                    <a:pt x="132969" y="319125"/>
                  </a:lnTo>
                  <a:lnTo>
                    <a:pt x="132969" y="292531"/>
                  </a:lnTo>
                  <a:close/>
                </a:path>
                <a:path w="213360" h="771525">
                  <a:moveTo>
                    <a:pt x="132969" y="132969"/>
                  </a:moveTo>
                  <a:lnTo>
                    <a:pt x="106375" y="132969"/>
                  </a:lnTo>
                  <a:lnTo>
                    <a:pt x="106375" y="212750"/>
                  </a:lnTo>
                  <a:lnTo>
                    <a:pt x="132969" y="212750"/>
                  </a:lnTo>
                  <a:lnTo>
                    <a:pt x="132969" y="132969"/>
                  </a:lnTo>
                  <a:close/>
                </a:path>
                <a:path w="213360" h="771525">
                  <a:moveTo>
                    <a:pt x="132969" y="0"/>
                  </a:moveTo>
                  <a:lnTo>
                    <a:pt x="106375" y="0"/>
                  </a:lnTo>
                  <a:lnTo>
                    <a:pt x="79781" y="0"/>
                  </a:lnTo>
                  <a:lnTo>
                    <a:pt x="79781" y="26593"/>
                  </a:lnTo>
                  <a:lnTo>
                    <a:pt x="106375" y="26593"/>
                  </a:lnTo>
                  <a:lnTo>
                    <a:pt x="106375" y="53187"/>
                  </a:lnTo>
                  <a:lnTo>
                    <a:pt x="79781" y="53187"/>
                  </a:lnTo>
                  <a:lnTo>
                    <a:pt x="79781" y="106375"/>
                  </a:lnTo>
                  <a:lnTo>
                    <a:pt x="53187" y="106375"/>
                  </a:lnTo>
                  <a:lnTo>
                    <a:pt x="53187" y="132969"/>
                  </a:lnTo>
                  <a:lnTo>
                    <a:pt x="79781" y="132969"/>
                  </a:lnTo>
                  <a:lnTo>
                    <a:pt x="106375" y="132969"/>
                  </a:lnTo>
                  <a:lnTo>
                    <a:pt x="106375" y="106375"/>
                  </a:lnTo>
                  <a:lnTo>
                    <a:pt x="106375" y="79781"/>
                  </a:lnTo>
                  <a:lnTo>
                    <a:pt x="132969" y="79781"/>
                  </a:lnTo>
                  <a:lnTo>
                    <a:pt x="132969" y="53187"/>
                  </a:lnTo>
                  <a:lnTo>
                    <a:pt x="132969" y="0"/>
                  </a:lnTo>
                  <a:close/>
                </a:path>
                <a:path w="213360" h="771525">
                  <a:moveTo>
                    <a:pt x="186156" y="585076"/>
                  </a:moveTo>
                  <a:lnTo>
                    <a:pt x="159562" y="585076"/>
                  </a:lnTo>
                  <a:lnTo>
                    <a:pt x="159562" y="611682"/>
                  </a:lnTo>
                  <a:lnTo>
                    <a:pt x="186156" y="611682"/>
                  </a:lnTo>
                  <a:lnTo>
                    <a:pt x="186156" y="585076"/>
                  </a:lnTo>
                  <a:close/>
                </a:path>
                <a:path w="213360" h="771525">
                  <a:moveTo>
                    <a:pt x="186156" y="505294"/>
                  </a:moveTo>
                  <a:lnTo>
                    <a:pt x="159562" y="505294"/>
                  </a:lnTo>
                  <a:lnTo>
                    <a:pt x="159562" y="478701"/>
                  </a:lnTo>
                  <a:lnTo>
                    <a:pt x="132969" y="478701"/>
                  </a:lnTo>
                  <a:lnTo>
                    <a:pt x="106375" y="478701"/>
                  </a:lnTo>
                  <a:lnTo>
                    <a:pt x="106375" y="585076"/>
                  </a:lnTo>
                  <a:lnTo>
                    <a:pt x="79781" y="585076"/>
                  </a:lnTo>
                  <a:lnTo>
                    <a:pt x="79781" y="558482"/>
                  </a:lnTo>
                  <a:lnTo>
                    <a:pt x="53187" y="558482"/>
                  </a:lnTo>
                  <a:lnTo>
                    <a:pt x="53187" y="585076"/>
                  </a:lnTo>
                  <a:lnTo>
                    <a:pt x="26593" y="585076"/>
                  </a:lnTo>
                  <a:lnTo>
                    <a:pt x="26593" y="558482"/>
                  </a:lnTo>
                  <a:lnTo>
                    <a:pt x="0" y="558482"/>
                  </a:lnTo>
                  <a:lnTo>
                    <a:pt x="0" y="611670"/>
                  </a:lnTo>
                  <a:lnTo>
                    <a:pt x="26593" y="611670"/>
                  </a:lnTo>
                  <a:lnTo>
                    <a:pt x="53187" y="611682"/>
                  </a:lnTo>
                  <a:lnTo>
                    <a:pt x="79781" y="611670"/>
                  </a:lnTo>
                  <a:lnTo>
                    <a:pt x="79781" y="638276"/>
                  </a:lnTo>
                  <a:lnTo>
                    <a:pt x="106375" y="638276"/>
                  </a:lnTo>
                  <a:lnTo>
                    <a:pt x="106375" y="664857"/>
                  </a:lnTo>
                  <a:lnTo>
                    <a:pt x="132969" y="664857"/>
                  </a:lnTo>
                  <a:lnTo>
                    <a:pt x="132969" y="718045"/>
                  </a:lnTo>
                  <a:lnTo>
                    <a:pt x="159562" y="718045"/>
                  </a:lnTo>
                  <a:lnTo>
                    <a:pt x="159562" y="744639"/>
                  </a:lnTo>
                  <a:lnTo>
                    <a:pt x="132969" y="744639"/>
                  </a:lnTo>
                  <a:lnTo>
                    <a:pt x="132969" y="718045"/>
                  </a:lnTo>
                  <a:lnTo>
                    <a:pt x="106375" y="718045"/>
                  </a:lnTo>
                  <a:lnTo>
                    <a:pt x="106375" y="744639"/>
                  </a:lnTo>
                  <a:lnTo>
                    <a:pt x="79781" y="744639"/>
                  </a:lnTo>
                  <a:lnTo>
                    <a:pt x="53187" y="744639"/>
                  </a:lnTo>
                  <a:lnTo>
                    <a:pt x="26593" y="744639"/>
                  </a:lnTo>
                  <a:lnTo>
                    <a:pt x="26593" y="771232"/>
                  </a:lnTo>
                  <a:lnTo>
                    <a:pt x="53187" y="771232"/>
                  </a:lnTo>
                  <a:lnTo>
                    <a:pt x="79781" y="771232"/>
                  </a:lnTo>
                  <a:lnTo>
                    <a:pt x="106375" y="771232"/>
                  </a:lnTo>
                  <a:lnTo>
                    <a:pt x="106375" y="744651"/>
                  </a:lnTo>
                  <a:lnTo>
                    <a:pt x="132969" y="744651"/>
                  </a:lnTo>
                  <a:lnTo>
                    <a:pt x="132969" y="771232"/>
                  </a:lnTo>
                  <a:lnTo>
                    <a:pt x="159562" y="771232"/>
                  </a:lnTo>
                  <a:lnTo>
                    <a:pt x="186156" y="771245"/>
                  </a:lnTo>
                  <a:lnTo>
                    <a:pt x="186156" y="691451"/>
                  </a:lnTo>
                  <a:lnTo>
                    <a:pt x="159562" y="691451"/>
                  </a:lnTo>
                  <a:lnTo>
                    <a:pt x="159562" y="664857"/>
                  </a:lnTo>
                  <a:lnTo>
                    <a:pt x="186156" y="664857"/>
                  </a:lnTo>
                  <a:lnTo>
                    <a:pt x="186156" y="638263"/>
                  </a:lnTo>
                  <a:lnTo>
                    <a:pt x="159562" y="638263"/>
                  </a:lnTo>
                  <a:lnTo>
                    <a:pt x="132969" y="638263"/>
                  </a:lnTo>
                  <a:lnTo>
                    <a:pt x="132969" y="558482"/>
                  </a:lnTo>
                  <a:lnTo>
                    <a:pt x="159562" y="558482"/>
                  </a:lnTo>
                  <a:lnTo>
                    <a:pt x="186156" y="558482"/>
                  </a:lnTo>
                  <a:lnTo>
                    <a:pt x="186156" y="505294"/>
                  </a:lnTo>
                  <a:close/>
                </a:path>
                <a:path w="213360" h="771525">
                  <a:moveTo>
                    <a:pt x="186156" y="452107"/>
                  </a:moveTo>
                  <a:lnTo>
                    <a:pt x="159562" y="452107"/>
                  </a:lnTo>
                  <a:lnTo>
                    <a:pt x="159562" y="478701"/>
                  </a:lnTo>
                  <a:lnTo>
                    <a:pt x="186156" y="478701"/>
                  </a:lnTo>
                  <a:lnTo>
                    <a:pt x="186156" y="452107"/>
                  </a:lnTo>
                  <a:close/>
                </a:path>
                <a:path w="213360" h="771525">
                  <a:moveTo>
                    <a:pt x="186156" y="345719"/>
                  </a:moveTo>
                  <a:lnTo>
                    <a:pt x="159562" y="345719"/>
                  </a:lnTo>
                  <a:lnTo>
                    <a:pt x="132969" y="345719"/>
                  </a:lnTo>
                  <a:lnTo>
                    <a:pt x="106375" y="345719"/>
                  </a:lnTo>
                  <a:lnTo>
                    <a:pt x="79781" y="345719"/>
                  </a:lnTo>
                  <a:lnTo>
                    <a:pt x="79781" y="372313"/>
                  </a:lnTo>
                  <a:lnTo>
                    <a:pt x="106375" y="372313"/>
                  </a:lnTo>
                  <a:lnTo>
                    <a:pt x="106375" y="398919"/>
                  </a:lnTo>
                  <a:lnTo>
                    <a:pt x="79781" y="398919"/>
                  </a:lnTo>
                  <a:lnTo>
                    <a:pt x="53187" y="398919"/>
                  </a:lnTo>
                  <a:lnTo>
                    <a:pt x="53187" y="425513"/>
                  </a:lnTo>
                  <a:lnTo>
                    <a:pt x="79781" y="425513"/>
                  </a:lnTo>
                  <a:lnTo>
                    <a:pt x="79781" y="452107"/>
                  </a:lnTo>
                  <a:lnTo>
                    <a:pt x="53187" y="452107"/>
                  </a:lnTo>
                  <a:lnTo>
                    <a:pt x="53187" y="425513"/>
                  </a:lnTo>
                  <a:lnTo>
                    <a:pt x="26593" y="425513"/>
                  </a:lnTo>
                  <a:lnTo>
                    <a:pt x="26593" y="452107"/>
                  </a:lnTo>
                  <a:lnTo>
                    <a:pt x="0" y="452107"/>
                  </a:lnTo>
                  <a:lnTo>
                    <a:pt x="0" y="531888"/>
                  </a:lnTo>
                  <a:lnTo>
                    <a:pt x="26593" y="531888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505294"/>
                  </a:lnTo>
                  <a:lnTo>
                    <a:pt x="79781" y="505294"/>
                  </a:lnTo>
                  <a:lnTo>
                    <a:pt x="79781" y="478701"/>
                  </a:lnTo>
                  <a:lnTo>
                    <a:pt x="106375" y="478701"/>
                  </a:lnTo>
                  <a:lnTo>
                    <a:pt x="106375" y="425500"/>
                  </a:lnTo>
                  <a:lnTo>
                    <a:pt x="132969" y="425500"/>
                  </a:lnTo>
                  <a:lnTo>
                    <a:pt x="132969" y="372313"/>
                  </a:lnTo>
                  <a:lnTo>
                    <a:pt x="159562" y="372313"/>
                  </a:lnTo>
                  <a:lnTo>
                    <a:pt x="186156" y="372313"/>
                  </a:lnTo>
                  <a:lnTo>
                    <a:pt x="186156" y="345719"/>
                  </a:lnTo>
                  <a:close/>
                </a:path>
                <a:path w="213360" h="771525">
                  <a:moveTo>
                    <a:pt x="186156" y="212750"/>
                  </a:moveTo>
                  <a:lnTo>
                    <a:pt x="159562" y="212750"/>
                  </a:lnTo>
                  <a:lnTo>
                    <a:pt x="159562" y="239344"/>
                  </a:lnTo>
                  <a:lnTo>
                    <a:pt x="132969" y="239344"/>
                  </a:lnTo>
                  <a:lnTo>
                    <a:pt x="106375" y="239344"/>
                  </a:lnTo>
                  <a:lnTo>
                    <a:pt x="79781" y="239344"/>
                  </a:lnTo>
                  <a:lnTo>
                    <a:pt x="79781" y="265938"/>
                  </a:lnTo>
                  <a:lnTo>
                    <a:pt x="106375" y="265938"/>
                  </a:lnTo>
                  <a:lnTo>
                    <a:pt x="132969" y="265938"/>
                  </a:lnTo>
                  <a:lnTo>
                    <a:pt x="159562" y="265938"/>
                  </a:lnTo>
                  <a:lnTo>
                    <a:pt x="159562" y="292531"/>
                  </a:lnTo>
                  <a:lnTo>
                    <a:pt x="186156" y="292531"/>
                  </a:lnTo>
                  <a:lnTo>
                    <a:pt x="186156" y="212750"/>
                  </a:lnTo>
                  <a:close/>
                </a:path>
                <a:path w="213360" h="771525">
                  <a:moveTo>
                    <a:pt x="212750" y="0"/>
                  </a:moveTo>
                  <a:lnTo>
                    <a:pt x="186156" y="0"/>
                  </a:lnTo>
                  <a:lnTo>
                    <a:pt x="159562" y="0"/>
                  </a:lnTo>
                  <a:lnTo>
                    <a:pt x="159562" y="53187"/>
                  </a:lnTo>
                  <a:lnTo>
                    <a:pt x="159562" y="106375"/>
                  </a:lnTo>
                  <a:lnTo>
                    <a:pt x="159562" y="186156"/>
                  </a:lnTo>
                  <a:lnTo>
                    <a:pt x="186156" y="186156"/>
                  </a:lnTo>
                  <a:lnTo>
                    <a:pt x="186156" y="106375"/>
                  </a:lnTo>
                  <a:lnTo>
                    <a:pt x="186156" y="53187"/>
                  </a:lnTo>
                  <a:lnTo>
                    <a:pt x="186156" y="26593"/>
                  </a:lnTo>
                  <a:lnTo>
                    <a:pt x="212750" y="26593"/>
                  </a:lnTo>
                  <a:lnTo>
                    <a:pt x="212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3" name="object 11">
              <a:extLst>
                <a:ext uri="{FF2B5EF4-FFF2-40B4-BE49-F238E27FC236}">
                  <a16:creationId xmlns:a16="http://schemas.microsoft.com/office/drawing/2014/main" id="{858E4DED-5429-320C-21FF-8BF6BCB9767B}"/>
                </a:ext>
              </a:extLst>
            </p:cNvPr>
            <p:cNvSpPr/>
            <p:nvPr/>
          </p:nvSpPr>
          <p:spPr>
            <a:xfrm>
              <a:off x="5807405" y="5575960"/>
              <a:ext cx="0" cy="399415"/>
            </a:xfrm>
            <a:custGeom>
              <a:avLst/>
              <a:gdLst/>
              <a:ahLst/>
              <a:cxnLst/>
              <a:rect l="l" t="t" r="r" b="b"/>
              <a:pathLst>
                <a:path h="399414">
                  <a:moveTo>
                    <a:pt x="0" y="0"/>
                  </a:moveTo>
                  <a:lnTo>
                    <a:pt x="0" y="398919"/>
                  </a:lnTo>
                </a:path>
              </a:pathLst>
            </a:custGeom>
            <a:ln w="26593">
              <a:solidFill>
                <a:srgbClr val="00000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4" name="object 12">
              <a:extLst>
                <a:ext uri="{FF2B5EF4-FFF2-40B4-BE49-F238E27FC236}">
                  <a16:creationId xmlns:a16="http://schemas.microsoft.com/office/drawing/2014/main" id="{FED0CAC7-1E0A-A0B1-67C4-A90CFB36E2DE}"/>
                </a:ext>
              </a:extLst>
            </p:cNvPr>
            <p:cNvSpPr/>
            <p:nvPr/>
          </p:nvSpPr>
          <p:spPr>
            <a:xfrm>
              <a:off x="5794108" y="5416397"/>
              <a:ext cx="106680" cy="771525"/>
            </a:xfrm>
            <a:custGeom>
              <a:avLst/>
              <a:gdLst/>
              <a:ahLst/>
              <a:cxnLst/>
              <a:rect l="l" t="t" r="r" b="b"/>
              <a:pathLst>
                <a:path w="106679" h="771525">
                  <a:moveTo>
                    <a:pt x="53187" y="691451"/>
                  </a:moveTo>
                  <a:lnTo>
                    <a:pt x="26593" y="691451"/>
                  </a:lnTo>
                  <a:lnTo>
                    <a:pt x="0" y="691451"/>
                  </a:lnTo>
                  <a:lnTo>
                    <a:pt x="0" y="718045"/>
                  </a:lnTo>
                  <a:lnTo>
                    <a:pt x="26593" y="718045"/>
                  </a:lnTo>
                  <a:lnTo>
                    <a:pt x="26593" y="744639"/>
                  </a:lnTo>
                  <a:lnTo>
                    <a:pt x="0" y="744639"/>
                  </a:lnTo>
                  <a:lnTo>
                    <a:pt x="0" y="771232"/>
                  </a:lnTo>
                  <a:lnTo>
                    <a:pt x="26593" y="771232"/>
                  </a:lnTo>
                  <a:lnTo>
                    <a:pt x="53187" y="771245"/>
                  </a:lnTo>
                  <a:lnTo>
                    <a:pt x="53187" y="691451"/>
                  </a:lnTo>
                  <a:close/>
                </a:path>
                <a:path w="106679" h="771525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638263"/>
                  </a:lnTo>
                  <a:lnTo>
                    <a:pt x="0" y="638263"/>
                  </a:lnTo>
                  <a:lnTo>
                    <a:pt x="0" y="664857"/>
                  </a:lnTo>
                  <a:lnTo>
                    <a:pt x="26593" y="664857"/>
                  </a:lnTo>
                  <a:lnTo>
                    <a:pt x="53187" y="664883"/>
                  </a:lnTo>
                  <a:lnTo>
                    <a:pt x="53187" y="452107"/>
                  </a:lnTo>
                  <a:close/>
                </a:path>
                <a:path w="106679" h="771525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98907"/>
                  </a:lnTo>
                  <a:lnTo>
                    <a:pt x="53187" y="398907"/>
                  </a:lnTo>
                  <a:lnTo>
                    <a:pt x="53187" y="345719"/>
                  </a:lnTo>
                  <a:close/>
                </a:path>
                <a:path w="106679" h="771525">
                  <a:moveTo>
                    <a:pt x="53187" y="212750"/>
                  </a:moveTo>
                  <a:lnTo>
                    <a:pt x="26593" y="212750"/>
                  </a:lnTo>
                  <a:lnTo>
                    <a:pt x="26593" y="292531"/>
                  </a:lnTo>
                  <a:lnTo>
                    <a:pt x="53187" y="292531"/>
                  </a:lnTo>
                  <a:lnTo>
                    <a:pt x="53187" y="212750"/>
                  </a:lnTo>
                  <a:close/>
                </a:path>
                <a:path w="106679" h="771525">
                  <a:moveTo>
                    <a:pt x="53187" y="159562"/>
                  </a:moveTo>
                  <a:lnTo>
                    <a:pt x="26593" y="159562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59562"/>
                  </a:lnTo>
                  <a:close/>
                </a:path>
                <a:path w="106679" h="771525">
                  <a:moveTo>
                    <a:pt x="53187" y="53187"/>
                  </a:moveTo>
                  <a:lnTo>
                    <a:pt x="26593" y="53187"/>
                  </a:lnTo>
                  <a:lnTo>
                    <a:pt x="26593" y="106375"/>
                  </a:lnTo>
                  <a:lnTo>
                    <a:pt x="26593" y="132969"/>
                  </a:lnTo>
                  <a:lnTo>
                    <a:pt x="53187" y="132969"/>
                  </a:lnTo>
                  <a:lnTo>
                    <a:pt x="53187" y="106375"/>
                  </a:lnTo>
                  <a:lnTo>
                    <a:pt x="53187" y="53187"/>
                  </a:lnTo>
                  <a:close/>
                </a:path>
                <a:path w="106679" h="771525">
                  <a:moveTo>
                    <a:pt x="53187" y="0"/>
                  </a:moveTo>
                  <a:lnTo>
                    <a:pt x="26593" y="0"/>
                  </a:lnTo>
                  <a:lnTo>
                    <a:pt x="26593" y="26593"/>
                  </a:lnTo>
                  <a:lnTo>
                    <a:pt x="53187" y="26593"/>
                  </a:lnTo>
                  <a:lnTo>
                    <a:pt x="53187" y="0"/>
                  </a:lnTo>
                  <a:close/>
                </a:path>
                <a:path w="106679" h="771525">
                  <a:moveTo>
                    <a:pt x="79794" y="664857"/>
                  </a:moveTo>
                  <a:lnTo>
                    <a:pt x="53200" y="664857"/>
                  </a:lnTo>
                  <a:lnTo>
                    <a:pt x="53200" y="744639"/>
                  </a:lnTo>
                  <a:lnTo>
                    <a:pt x="79794" y="744639"/>
                  </a:lnTo>
                  <a:lnTo>
                    <a:pt x="79794" y="664857"/>
                  </a:lnTo>
                  <a:close/>
                </a:path>
                <a:path w="106679" h="771525">
                  <a:moveTo>
                    <a:pt x="79794" y="558482"/>
                  </a:moveTo>
                  <a:lnTo>
                    <a:pt x="53200" y="558482"/>
                  </a:lnTo>
                  <a:lnTo>
                    <a:pt x="53200" y="611670"/>
                  </a:lnTo>
                  <a:lnTo>
                    <a:pt x="79794" y="611670"/>
                  </a:lnTo>
                  <a:lnTo>
                    <a:pt x="79794" y="558482"/>
                  </a:lnTo>
                  <a:close/>
                </a:path>
                <a:path w="106679" h="771525">
                  <a:moveTo>
                    <a:pt x="79794" y="425513"/>
                  </a:moveTo>
                  <a:lnTo>
                    <a:pt x="53200" y="425513"/>
                  </a:lnTo>
                  <a:lnTo>
                    <a:pt x="53200" y="452107"/>
                  </a:lnTo>
                  <a:lnTo>
                    <a:pt x="79794" y="452107"/>
                  </a:lnTo>
                  <a:lnTo>
                    <a:pt x="79794" y="425513"/>
                  </a:lnTo>
                  <a:close/>
                </a:path>
                <a:path w="106679" h="771525">
                  <a:moveTo>
                    <a:pt x="79794" y="372313"/>
                  </a:moveTo>
                  <a:lnTo>
                    <a:pt x="53200" y="372313"/>
                  </a:lnTo>
                  <a:lnTo>
                    <a:pt x="53200" y="398907"/>
                  </a:lnTo>
                  <a:lnTo>
                    <a:pt x="79794" y="398907"/>
                  </a:lnTo>
                  <a:lnTo>
                    <a:pt x="79794" y="372313"/>
                  </a:lnTo>
                  <a:close/>
                </a:path>
                <a:path w="106679" h="771525">
                  <a:moveTo>
                    <a:pt x="79794" y="292531"/>
                  </a:moveTo>
                  <a:lnTo>
                    <a:pt x="53200" y="292531"/>
                  </a:lnTo>
                  <a:lnTo>
                    <a:pt x="53200" y="345719"/>
                  </a:lnTo>
                  <a:lnTo>
                    <a:pt x="79794" y="345719"/>
                  </a:lnTo>
                  <a:lnTo>
                    <a:pt x="79794" y="292531"/>
                  </a:lnTo>
                  <a:close/>
                </a:path>
                <a:path w="106679" h="771525">
                  <a:moveTo>
                    <a:pt x="106387" y="212750"/>
                  </a:moveTo>
                  <a:lnTo>
                    <a:pt x="79794" y="212750"/>
                  </a:lnTo>
                  <a:lnTo>
                    <a:pt x="53200" y="212750"/>
                  </a:lnTo>
                  <a:lnTo>
                    <a:pt x="53200" y="239344"/>
                  </a:lnTo>
                  <a:lnTo>
                    <a:pt x="79794" y="239344"/>
                  </a:lnTo>
                  <a:lnTo>
                    <a:pt x="106387" y="239344"/>
                  </a:lnTo>
                  <a:lnTo>
                    <a:pt x="106387" y="212750"/>
                  </a:lnTo>
                  <a:close/>
                </a:path>
                <a:path w="106679" h="771525">
                  <a:moveTo>
                    <a:pt x="106387" y="159562"/>
                  </a:moveTo>
                  <a:lnTo>
                    <a:pt x="79794" y="159562"/>
                  </a:lnTo>
                  <a:lnTo>
                    <a:pt x="53200" y="159562"/>
                  </a:lnTo>
                  <a:lnTo>
                    <a:pt x="53200" y="186156"/>
                  </a:lnTo>
                  <a:lnTo>
                    <a:pt x="79794" y="186156"/>
                  </a:lnTo>
                  <a:lnTo>
                    <a:pt x="106387" y="186156"/>
                  </a:lnTo>
                  <a:lnTo>
                    <a:pt x="106387" y="159562"/>
                  </a:lnTo>
                  <a:close/>
                </a:path>
                <a:path w="106679" h="771525">
                  <a:moveTo>
                    <a:pt x="106387" y="53187"/>
                  </a:moveTo>
                  <a:lnTo>
                    <a:pt x="79794" y="53187"/>
                  </a:lnTo>
                  <a:lnTo>
                    <a:pt x="53200" y="53187"/>
                  </a:lnTo>
                  <a:lnTo>
                    <a:pt x="53200" y="106375"/>
                  </a:lnTo>
                  <a:lnTo>
                    <a:pt x="53200" y="132969"/>
                  </a:lnTo>
                  <a:lnTo>
                    <a:pt x="79794" y="132969"/>
                  </a:lnTo>
                  <a:lnTo>
                    <a:pt x="106387" y="132969"/>
                  </a:lnTo>
                  <a:lnTo>
                    <a:pt x="106387" y="106375"/>
                  </a:lnTo>
                  <a:lnTo>
                    <a:pt x="106387" y="53187"/>
                  </a:lnTo>
                  <a:close/>
                </a:path>
                <a:path w="106679" h="771525">
                  <a:moveTo>
                    <a:pt x="106387" y="0"/>
                  </a:moveTo>
                  <a:lnTo>
                    <a:pt x="79794" y="0"/>
                  </a:lnTo>
                  <a:lnTo>
                    <a:pt x="53200" y="0"/>
                  </a:lnTo>
                  <a:lnTo>
                    <a:pt x="53200" y="26593"/>
                  </a:lnTo>
                  <a:lnTo>
                    <a:pt x="79794" y="26593"/>
                  </a:lnTo>
                  <a:lnTo>
                    <a:pt x="106387" y="26593"/>
                  </a:lnTo>
                  <a:lnTo>
                    <a:pt x="1063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5" name="object 13">
              <a:extLst>
                <a:ext uri="{FF2B5EF4-FFF2-40B4-BE49-F238E27FC236}">
                  <a16:creationId xmlns:a16="http://schemas.microsoft.com/office/drawing/2014/main" id="{8A463F1C-0C1F-A541-8EAC-C804D8F6200E}"/>
                </a:ext>
              </a:extLst>
            </p:cNvPr>
            <p:cNvSpPr/>
            <p:nvPr/>
          </p:nvSpPr>
          <p:spPr>
            <a:xfrm>
              <a:off x="5887199" y="5735523"/>
              <a:ext cx="0" cy="452120"/>
            </a:xfrm>
            <a:custGeom>
              <a:avLst/>
              <a:gdLst/>
              <a:ahLst/>
              <a:cxnLst/>
              <a:rect l="l" t="t" r="r" b="b"/>
              <a:pathLst>
                <a:path h="452120">
                  <a:moveTo>
                    <a:pt x="0" y="0"/>
                  </a:moveTo>
                  <a:lnTo>
                    <a:pt x="0" y="452107"/>
                  </a:lnTo>
                </a:path>
              </a:pathLst>
            </a:custGeom>
            <a:ln w="26593">
              <a:solidFill>
                <a:srgbClr val="000000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  <p:sp>
          <p:nvSpPr>
            <p:cNvPr id="26" name="object 14">
              <a:extLst>
                <a:ext uri="{FF2B5EF4-FFF2-40B4-BE49-F238E27FC236}">
                  <a16:creationId xmlns:a16="http://schemas.microsoft.com/office/drawing/2014/main" id="{E24A2F97-85F2-6DE1-7755-199267FBF8D9}"/>
                </a:ext>
              </a:extLst>
            </p:cNvPr>
            <p:cNvSpPr/>
            <p:nvPr/>
          </p:nvSpPr>
          <p:spPr>
            <a:xfrm>
              <a:off x="5900496" y="5416397"/>
              <a:ext cx="53340" cy="744855"/>
            </a:xfrm>
            <a:custGeom>
              <a:avLst/>
              <a:gdLst/>
              <a:ahLst/>
              <a:cxnLst/>
              <a:rect l="l" t="t" r="r" b="b"/>
              <a:pathLst>
                <a:path w="53339" h="744854">
                  <a:moveTo>
                    <a:pt x="26593" y="398919"/>
                  </a:moveTo>
                  <a:lnTo>
                    <a:pt x="0" y="398919"/>
                  </a:lnTo>
                  <a:lnTo>
                    <a:pt x="0" y="425513"/>
                  </a:lnTo>
                  <a:lnTo>
                    <a:pt x="26593" y="425513"/>
                  </a:lnTo>
                  <a:lnTo>
                    <a:pt x="26593" y="398919"/>
                  </a:lnTo>
                  <a:close/>
                </a:path>
                <a:path w="53339" h="744854">
                  <a:moveTo>
                    <a:pt x="26593" y="292531"/>
                  </a:moveTo>
                  <a:lnTo>
                    <a:pt x="0" y="292531"/>
                  </a:lnTo>
                  <a:lnTo>
                    <a:pt x="0" y="319125"/>
                  </a:lnTo>
                  <a:lnTo>
                    <a:pt x="26593" y="319125"/>
                  </a:lnTo>
                  <a:lnTo>
                    <a:pt x="26593" y="292531"/>
                  </a:lnTo>
                  <a:close/>
                </a:path>
                <a:path w="53339" h="744854">
                  <a:moveTo>
                    <a:pt x="53187" y="611670"/>
                  </a:moveTo>
                  <a:lnTo>
                    <a:pt x="26593" y="611670"/>
                  </a:lnTo>
                  <a:lnTo>
                    <a:pt x="0" y="611670"/>
                  </a:lnTo>
                  <a:lnTo>
                    <a:pt x="0" y="744639"/>
                  </a:lnTo>
                  <a:lnTo>
                    <a:pt x="26593" y="744639"/>
                  </a:lnTo>
                  <a:lnTo>
                    <a:pt x="26593" y="691451"/>
                  </a:lnTo>
                  <a:lnTo>
                    <a:pt x="53187" y="691451"/>
                  </a:lnTo>
                  <a:lnTo>
                    <a:pt x="53187" y="611670"/>
                  </a:lnTo>
                  <a:close/>
                </a:path>
                <a:path w="53339" h="744854">
                  <a:moveTo>
                    <a:pt x="53187" y="531888"/>
                  </a:moveTo>
                  <a:lnTo>
                    <a:pt x="26593" y="531888"/>
                  </a:lnTo>
                  <a:lnTo>
                    <a:pt x="26593" y="505294"/>
                  </a:lnTo>
                  <a:lnTo>
                    <a:pt x="0" y="505294"/>
                  </a:lnTo>
                  <a:lnTo>
                    <a:pt x="0" y="585076"/>
                  </a:lnTo>
                  <a:lnTo>
                    <a:pt x="26593" y="585076"/>
                  </a:lnTo>
                  <a:lnTo>
                    <a:pt x="53187" y="585076"/>
                  </a:lnTo>
                  <a:lnTo>
                    <a:pt x="53187" y="531888"/>
                  </a:lnTo>
                  <a:close/>
                </a:path>
                <a:path w="53339" h="744854">
                  <a:moveTo>
                    <a:pt x="53187" y="452107"/>
                  </a:moveTo>
                  <a:lnTo>
                    <a:pt x="26593" y="452107"/>
                  </a:lnTo>
                  <a:lnTo>
                    <a:pt x="26593" y="478701"/>
                  </a:lnTo>
                  <a:lnTo>
                    <a:pt x="53187" y="478701"/>
                  </a:lnTo>
                  <a:lnTo>
                    <a:pt x="53187" y="452107"/>
                  </a:lnTo>
                  <a:close/>
                </a:path>
                <a:path w="53339" h="744854">
                  <a:moveTo>
                    <a:pt x="53187" y="345719"/>
                  </a:moveTo>
                  <a:lnTo>
                    <a:pt x="26593" y="345719"/>
                  </a:lnTo>
                  <a:lnTo>
                    <a:pt x="26593" y="372313"/>
                  </a:lnTo>
                  <a:lnTo>
                    <a:pt x="53187" y="372313"/>
                  </a:lnTo>
                  <a:lnTo>
                    <a:pt x="53187" y="345719"/>
                  </a:lnTo>
                  <a:close/>
                </a:path>
                <a:path w="53339" h="744854">
                  <a:moveTo>
                    <a:pt x="53187" y="239344"/>
                  </a:moveTo>
                  <a:lnTo>
                    <a:pt x="26593" y="239344"/>
                  </a:lnTo>
                  <a:lnTo>
                    <a:pt x="26593" y="265938"/>
                  </a:lnTo>
                  <a:lnTo>
                    <a:pt x="53187" y="265938"/>
                  </a:lnTo>
                  <a:lnTo>
                    <a:pt x="53187" y="239344"/>
                  </a:lnTo>
                  <a:close/>
                </a:path>
                <a:path w="53339" h="744854">
                  <a:moveTo>
                    <a:pt x="53187" y="0"/>
                  </a:moveTo>
                  <a:lnTo>
                    <a:pt x="26593" y="0"/>
                  </a:lnTo>
                  <a:lnTo>
                    <a:pt x="0" y="0"/>
                  </a:lnTo>
                  <a:lnTo>
                    <a:pt x="0" y="26593"/>
                  </a:lnTo>
                  <a:lnTo>
                    <a:pt x="26593" y="26593"/>
                  </a:lnTo>
                  <a:lnTo>
                    <a:pt x="26593" y="53187"/>
                  </a:lnTo>
                  <a:lnTo>
                    <a:pt x="26593" y="106375"/>
                  </a:lnTo>
                  <a:lnTo>
                    <a:pt x="26593" y="159562"/>
                  </a:lnTo>
                  <a:lnTo>
                    <a:pt x="0" y="159562"/>
                  </a:lnTo>
                  <a:lnTo>
                    <a:pt x="0" y="186156"/>
                  </a:lnTo>
                  <a:lnTo>
                    <a:pt x="26593" y="186156"/>
                  </a:lnTo>
                  <a:lnTo>
                    <a:pt x="53187" y="186156"/>
                  </a:lnTo>
                  <a:lnTo>
                    <a:pt x="53187" y="106375"/>
                  </a:lnTo>
                  <a:lnTo>
                    <a:pt x="53187" y="53187"/>
                  </a:lnTo>
                  <a:lnTo>
                    <a:pt x="531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lang="de-DE" dirty="0"/>
            </a:p>
          </p:txBody>
        </p:sp>
      </p:grp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CC023390-A79B-BF34-0D7A-056E5071C37E}"/>
              </a:ext>
            </a:extLst>
          </p:cNvPr>
          <p:cNvCxnSpPr/>
          <p:nvPr/>
        </p:nvCxnSpPr>
        <p:spPr>
          <a:xfrm>
            <a:off x="407990" y="5416397"/>
            <a:ext cx="121221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11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429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27650" cy="830997"/>
          </a:xfrm>
        </p:spPr>
        <p:txBody>
          <a:bodyPr vert="horz"/>
          <a:lstStyle/>
          <a:p>
            <a:r>
              <a:rPr lang="de-DE" dirty="0"/>
              <a:t>Überschrift  – Layout </a:t>
            </a:r>
            <a:br>
              <a:rPr lang="de-DE" dirty="0"/>
            </a:br>
            <a:r>
              <a:rPr lang="de-DE" dirty="0">
                <a:latin typeface="+mj-lt"/>
              </a:rPr>
              <a:t>‚Text </a:t>
            </a:r>
            <a:r>
              <a:rPr lang="de-DE" dirty="0" err="1">
                <a:latin typeface="+mj-lt"/>
              </a:rPr>
              <a:t>dunkel+Bild</a:t>
            </a:r>
            <a:r>
              <a:rPr lang="de-DE" dirty="0">
                <a:latin typeface="+mj-lt"/>
              </a:rPr>
              <a:t> rechts‘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2060847"/>
            <a:ext cx="5328009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pic>
        <p:nvPicPr>
          <p:cNvPr id="8" name="object 12">
            <a:extLst>
              <a:ext uri="{FF2B5EF4-FFF2-40B4-BE49-F238E27FC236}">
                <a16:creationId xmlns:a16="http://schemas.microsoft.com/office/drawing/2014/main" id="{571FF89F-A82D-290D-435F-B1E479DA647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D265C3-2BBD-93F8-4C4B-7CEE2FFBC9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C72954-D22A-D747-69A3-C0613F4FA1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29025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045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404813"/>
            <a:ext cx="5328009" cy="830997"/>
          </a:xfrm>
        </p:spPr>
        <p:txBody>
          <a:bodyPr vert="horz"/>
          <a:lstStyle/>
          <a:p>
            <a:r>
              <a:rPr lang="de-DE" dirty="0"/>
              <a:t>Überschrift  – Layout </a:t>
            </a:r>
            <a:br>
              <a:rPr lang="de-DE" dirty="0"/>
            </a:br>
            <a:r>
              <a:rPr lang="de-DE" dirty="0">
                <a:latin typeface="+mj-lt"/>
              </a:rPr>
              <a:t>‚Text </a:t>
            </a:r>
            <a:r>
              <a:rPr lang="de-DE" dirty="0" err="1">
                <a:latin typeface="+mj-lt"/>
              </a:rPr>
              <a:t>dunkel+Bild</a:t>
            </a:r>
            <a:r>
              <a:rPr lang="de-DE" dirty="0">
                <a:latin typeface="+mj-lt"/>
              </a:rPr>
              <a:t> rechts‘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pic>
        <p:nvPicPr>
          <p:cNvPr id="8" name="object 12">
            <a:extLst>
              <a:ext uri="{FF2B5EF4-FFF2-40B4-BE49-F238E27FC236}">
                <a16:creationId xmlns:a16="http://schemas.microsoft.com/office/drawing/2014/main" id="{571FF89F-A82D-290D-435F-B1E479DA647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D265C3-2BBD-93F8-4C4B-7CEE2FFBC9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C72954-D22A-D747-69A3-C0613F4FA1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29266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4127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ject 4">
            <a:extLst>
              <a:ext uri="{FF2B5EF4-FFF2-40B4-BE49-F238E27FC236}">
                <a16:creationId xmlns:a16="http://schemas.microsoft.com/office/drawing/2014/main" id="{AD792025-862A-385D-3E61-53C0762515F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63" y="404813"/>
            <a:ext cx="5327650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‚Text </a:t>
            </a:r>
            <a:r>
              <a:rPr lang="de-DE" dirty="0" err="1">
                <a:latin typeface="+mj-lt"/>
              </a:rPr>
              <a:t>hell+Bild</a:t>
            </a:r>
            <a:r>
              <a:rPr lang="de-DE" dirty="0">
                <a:latin typeface="+mj-lt"/>
              </a:rPr>
              <a:t> dunkel rechts‘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44EBA01-BBD0-B65B-0D07-B2FD5D5CF7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6721BB-44FA-38A1-82E7-7935642F2D0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0C8D57E-9F50-3C46-677F-DE51B312BC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22372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03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ject 4">
            <a:extLst>
              <a:ext uri="{FF2B5EF4-FFF2-40B4-BE49-F238E27FC236}">
                <a16:creationId xmlns:a16="http://schemas.microsoft.com/office/drawing/2014/main" id="{AD792025-862A-385D-3E61-53C0762515F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456363" y="404813"/>
            <a:ext cx="5327650" cy="1246495"/>
          </a:xfrm>
        </p:spPr>
        <p:txBody>
          <a:bodyPr vert="horz"/>
          <a:lstStyle/>
          <a:p>
            <a:r>
              <a:rPr lang="de-DE"/>
              <a:t>Überschrift – Layout </a:t>
            </a:r>
            <a:br>
              <a:rPr lang="de-DE"/>
            </a:br>
            <a:r>
              <a:rPr lang="de-DE">
                <a:latin typeface="+mj-lt"/>
              </a:rPr>
              <a:t>‚Text dunkel+Bild dunkel links‘</a:t>
            </a:r>
            <a:endParaRPr lang="de-DE" dirty="0">
              <a:latin typeface="+mj-lt"/>
            </a:endParaRP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456001" y="2060847"/>
            <a:ext cx="5328012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1A31B7A-73A5-DB3A-E4F9-FB2F38AAB17B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141610F8-C065-8398-B6D2-9C55B76F2B4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99C545E2-B8A8-67EA-EDFC-62636A35AA18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64399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8926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ject 12">
            <a:extLst>
              <a:ext uri="{FF2B5EF4-FFF2-40B4-BE49-F238E27FC236}">
                <a16:creationId xmlns:a16="http://schemas.microsoft.com/office/drawing/2014/main" id="{571FF89F-A82D-290D-435F-B1E479DA647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63" y="404813"/>
            <a:ext cx="5327650" cy="830997"/>
          </a:xfrm>
        </p:spPr>
        <p:txBody>
          <a:bodyPr vert="horz"/>
          <a:lstStyle/>
          <a:p>
            <a:r>
              <a:rPr lang="de-DE"/>
              <a:t>Überschrift – Layout </a:t>
            </a:r>
            <a:br>
              <a:rPr lang="de-DE">
                <a:latin typeface="+mj-lt"/>
              </a:rPr>
            </a:br>
            <a:r>
              <a:rPr lang="de-DE">
                <a:latin typeface="+mj-lt"/>
              </a:rPr>
              <a:t>‚Text hell+Bild hell rechts‘</a:t>
            </a:r>
            <a:endParaRPr lang="de-DE" dirty="0">
              <a:latin typeface="+mj-lt"/>
            </a:endParaRP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001" y="2060847"/>
            <a:ext cx="5328012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FDA4532E-F344-8DA9-1603-D33002D62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2DF3E12-A2B9-8934-B33D-59ADC06CCD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77E63B-F7C3-1E56-AA65-49083D8FE3E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8942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610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ct 12">
            <a:extLst>
              <a:ext uri="{FF2B5EF4-FFF2-40B4-BE49-F238E27FC236}">
                <a16:creationId xmlns:a16="http://schemas.microsoft.com/office/drawing/2014/main" id="{29CBEF69-BBFE-667E-36C7-170DDF718B08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1" y="404813"/>
            <a:ext cx="5328012" cy="830997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br>
              <a:rPr lang="de-DE" dirty="0"/>
            </a:br>
            <a:r>
              <a:rPr lang="de-DE" dirty="0">
                <a:latin typeface="+mj-lt"/>
              </a:rPr>
              <a:t>‚Text </a:t>
            </a:r>
            <a:r>
              <a:rPr lang="de-DE" dirty="0" err="1">
                <a:latin typeface="+mj-lt"/>
              </a:rPr>
              <a:t>dunkel+Bild</a:t>
            </a:r>
            <a:r>
              <a:rPr lang="de-DE" dirty="0">
                <a:latin typeface="+mj-lt"/>
              </a:rPr>
              <a:t> hell links‘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1B71C02-08A5-B2D7-AAEC-EABDBB413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141610F8-C065-8398-B6D2-9C55B76F2B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99C545E2-B8A8-67EA-EDFC-62636A35AA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67519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32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3298825" cy="1661993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r>
              <a:rPr lang="de-DE" dirty="0">
                <a:latin typeface="+mj-lt"/>
              </a:rPr>
              <a:t>‚Text </a:t>
            </a:r>
            <a:r>
              <a:rPr lang="de-DE" dirty="0" err="1">
                <a:latin typeface="+mj-lt"/>
              </a:rPr>
              <a:t>hell+Bild</a:t>
            </a:r>
            <a:r>
              <a:rPr lang="de-DE" dirty="0">
                <a:latin typeface="+mj-lt"/>
              </a:rPr>
              <a:t> rechts 2/3‘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</p:txBody>
      </p:sp>
      <p:pic>
        <p:nvPicPr>
          <p:cNvPr id="8" name="bg object 16">
            <a:extLst>
              <a:ext uri="{FF2B5EF4-FFF2-40B4-BE49-F238E27FC236}">
                <a16:creationId xmlns:a16="http://schemas.microsoft.com/office/drawing/2014/main" id="{AA84B49C-4064-AA89-D96E-31472F951FA0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6125" y="0"/>
            <a:ext cx="8125875" cy="6858000"/>
          </a:xfr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562EE5-756C-12DE-AFFC-E68EBBE1CD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56D76D-5B84-B434-D02A-2AEFEA7D59A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98135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531F84-20B2-7DB4-A390-04A4E23E59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45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31F84-20B2-7DB4-A390-04A4E23E5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1647F6C7-B38E-DAE1-3E6E-A25271A062B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07988" y="404813"/>
            <a:ext cx="3298825" cy="1661993"/>
          </a:xfrm>
        </p:spPr>
        <p:txBody>
          <a:bodyPr vert="horz"/>
          <a:lstStyle/>
          <a:p>
            <a:r>
              <a:rPr lang="de-DE" dirty="0"/>
              <a:t>Überschrift – Layout </a:t>
            </a:r>
            <a:r>
              <a:rPr lang="de-DE" dirty="0">
                <a:latin typeface="+mj-lt"/>
              </a:rPr>
              <a:t>‚Text </a:t>
            </a:r>
            <a:r>
              <a:rPr lang="de-DE" dirty="0" err="1">
                <a:latin typeface="+mj-lt"/>
              </a:rPr>
              <a:t>dunkel+Bild</a:t>
            </a:r>
            <a:r>
              <a:rPr lang="de-DE" dirty="0">
                <a:latin typeface="+mj-lt"/>
              </a:rPr>
              <a:t> rechts 2/3‘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554C768-ACD1-B4B6-7C0C-5A211E8A1671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07991" y="2060847"/>
            <a:ext cx="3298134" cy="411611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</p:txBody>
      </p:sp>
      <p:pic>
        <p:nvPicPr>
          <p:cNvPr id="28" name="bg object 16">
            <a:extLst>
              <a:ext uri="{FF2B5EF4-FFF2-40B4-BE49-F238E27FC236}">
                <a16:creationId xmlns:a16="http://schemas.microsoft.com/office/drawing/2014/main" id="{0D3C3731-56E8-F7C1-412D-77091BA8F33F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6125" y="0"/>
            <a:ext cx="8125875" cy="6858000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D6D8D8B-9420-07F1-AF65-03F89E7760DC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4"/>
            </p:custDataLst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C45481-4AE7-8902-D01C-258D6BEFBB93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5"/>
            </p:custDataLst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83026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18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969496"/>
          </a:xfrm>
        </p:spPr>
        <p:txBody>
          <a:bodyPr vert="horz"/>
          <a:lstStyle/>
          <a:p>
            <a:r>
              <a:rPr lang="de-DE" dirty="0"/>
              <a:t>Titel-Folie mit Bild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‚Titelfolie dunkel‘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Referent: Max Mustermann</a:t>
            </a:r>
          </a:p>
          <a:p>
            <a:r>
              <a:rPr lang="de-DE" dirty="0"/>
              <a:t>Datum: 12.12.2024</a:t>
            </a:r>
          </a:p>
        </p:txBody>
      </p:sp>
      <p:pic>
        <p:nvPicPr>
          <p:cNvPr id="26" name="object 12">
            <a:extLst>
              <a:ext uri="{FF2B5EF4-FFF2-40B4-BE49-F238E27FC236}">
                <a16:creationId xmlns:a16="http://schemas.microsoft.com/office/drawing/2014/main" id="{9AC88B26-9F27-FD8F-BCF9-A4F8A0B74A5D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36026490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0EA38B3-1381-3205-7B05-C7ACD6287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471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7A3209E5-5E7E-802A-D9D9-58C6319A15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90" y="335563"/>
            <a:ext cx="5328009" cy="969496"/>
          </a:xfrm>
        </p:spPr>
        <p:txBody>
          <a:bodyPr vert="horz"/>
          <a:lstStyle/>
          <a:p>
            <a:r>
              <a:rPr lang="de-DE" dirty="0"/>
              <a:t>Fragen zum Thema</a:t>
            </a:r>
            <a:br>
              <a:rPr lang="de-DE" dirty="0"/>
            </a:br>
            <a:r>
              <a:rPr lang="de-DE" dirty="0"/>
              <a:t>Entwässerung?</a:t>
            </a:r>
          </a:p>
        </p:txBody>
      </p:sp>
      <p:sp>
        <p:nvSpPr>
          <p:cNvPr id="16" name="Untertitel 15">
            <a:extLst>
              <a:ext uri="{FF2B5EF4-FFF2-40B4-BE49-F238E27FC236}">
                <a16:creationId xmlns:a16="http://schemas.microsoft.com/office/drawing/2014/main" id="{80BCFBAA-C7B9-074D-AF53-C709F96FFC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507990" cy="1655762"/>
          </a:xfrm>
        </p:spPr>
        <p:txBody>
          <a:bodyPr/>
          <a:lstStyle/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Rufen Sie uns gerne an oder schreiben Sie uns!</a:t>
            </a: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Seminare, Tools, Videos und vieles mehr rund um unsere Produkte und Systeme finden sie auch online.</a:t>
            </a:r>
          </a:p>
          <a:p>
            <a:pPr algn="l"/>
            <a:endParaRPr lang="de-DE" sz="1800" b="0" i="0" u="none" strike="noStrike" baseline="0" dirty="0">
              <a:solidFill>
                <a:srgbClr val="FFFFFF"/>
              </a:solidFill>
            </a:endParaRP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+49 2932 9616-0</a:t>
            </a: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info@dallmer.de</a:t>
            </a:r>
          </a:p>
          <a:p>
            <a:pPr algn="l"/>
            <a:r>
              <a:rPr lang="de-DE" sz="1800" b="0" i="0" u="none" strike="noStrike" baseline="0" dirty="0">
                <a:solidFill>
                  <a:srgbClr val="FFFFFF"/>
                </a:solidFill>
              </a:rPr>
              <a:t>dallmer.de/</a:t>
            </a:r>
            <a:r>
              <a:rPr lang="de-DE" sz="1800" b="0" i="0" u="none" strike="noStrike" baseline="0" dirty="0" err="1">
                <a:solidFill>
                  <a:srgbClr val="FFFFFF"/>
                </a:solidFill>
              </a:rPr>
              <a:t>service</a:t>
            </a:r>
            <a:endParaRPr lang="de-DE" dirty="0"/>
          </a:p>
        </p:txBody>
      </p:sp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36964995-6F9D-64D4-A402-9E8097C5779B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6"/>
          <a:srcRect l="20370" r="20370"/>
          <a:stretch>
            <a:fillRect/>
          </a:stretch>
        </p:blipFill>
        <p:spPr>
          <a:xfrm>
            <a:off x="609600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39005624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2B6F85-2D58-F828-DF04-4B306FDE3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166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92" imgH="591" progId="TCLayout.ActiveDocument.1">
                  <p:embed/>
                </p:oleObj>
              </mc:Choice>
              <mc:Fallback>
                <p:oleObj name="think-cell Folie" r:id="rId1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>
            <a:extLst>
              <a:ext uri="{FF2B5EF4-FFF2-40B4-BE49-F238E27FC236}">
                <a16:creationId xmlns:a16="http://schemas.microsoft.com/office/drawing/2014/main" id="{DBF876CE-5A95-D8F2-858E-B7639B2E295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7989" y="3235318"/>
            <a:ext cx="213120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Information/ Zusatz 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7688A4-CC4A-BDD0-1E9D-4D8F52DF2E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19193" y="3235318"/>
            <a:ext cx="213120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Hinweis/ Vor/ Weiter 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14B677E-E0B8-ED57-7A60-F94C15B282A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030398" y="3235318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Reinigun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ABD8031-5C0D-39AF-52C8-95172115352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41602" y="3235318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Sortimentsliste 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48E5EB1-3529-5457-D9F3-D64ADA63120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652807" y="3235318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Preisliste 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2AAC7D2-3393-D040-3E75-778B0272CE2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7989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Montageanleitung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4A76A03-C27B-2BE5-1B8C-5E5002AC410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19193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Highlight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5C310E-3036-1037-DD08-089B1E41864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030398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>
                <a:solidFill>
                  <a:schemeClr val="tx1"/>
                </a:solidFill>
              </a:rPr>
              <a:t>Focus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40827B0-781C-3100-C1A3-ADC61C51CAD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341602" y="5869184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Änderung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A529EF-CEA2-F08D-400C-7D36CC5DB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iktogramme / Symbole – Copy-Templa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F70624-7DDB-EBF5-3591-CEBC63807D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97316" y="4516657"/>
            <a:ext cx="1352550" cy="13525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191D258-85C7-F20A-3C55-330F2B5F712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108521" y="2060847"/>
            <a:ext cx="1352550" cy="135255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8430D60-A401-DF0D-C657-A5304B7B0D8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042134" y="2060847"/>
            <a:ext cx="1352550" cy="135255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6D77CE6-0327-49D9-622A-52C45D4687A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730930" y="4516657"/>
            <a:ext cx="1352550" cy="135255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114B144-FD67-18EA-2A84-56D33BB5A6F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97316" y="2060847"/>
            <a:ext cx="1352550" cy="135255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B07801B-7812-A1F0-E19C-BA4B58BBA05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419726" y="2060847"/>
            <a:ext cx="1352550" cy="135255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C9FA523-2658-603F-8217-BA2664CF466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730930" y="2060847"/>
            <a:ext cx="1352550" cy="135255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5D05FD33-9538-BACF-4210-E2BE9B44926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419726" y="4516657"/>
            <a:ext cx="1352550" cy="135255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C9CE29E-C58D-424A-C98B-83C49F60A93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106237" y="4378543"/>
            <a:ext cx="1352550" cy="13525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D7A40E9-5C87-4B54-B30B-83BF0FD7D91F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10064891" y="4515584"/>
            <a:ext cx="1353600" cy="13536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4" name="Rechteck 33">
            <a:extLst>
              <a:ext uri="{FF2B5EF4-FFF2-40B4-BE49-F238E27FC236}">
                <a16:creationId xmlns:a16="http://schemas.microsoft.com/office/drawing/2014/main" id="{A1E3026D-41C8-4E14-BC9E-F04E8E81EC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625207" y="5869207"/>
            <a:ext cx="2131205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Sessions</a:t>
            </a:r>
          </a:p>
        </p:txBody>
      </p:sp>
    </p:spTree>
    <p:extLst>
      <p:ext uri="{BB962C8B-B14F-4D97-AF65-F5344CB8AC3E}">
        <p14:creationId xmlns:p14="http://schemas.microsoft.com/office/powerpoint/2010/main" val="3461026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263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1454244"/>
          </a:xfrm>
        </p:spPr>
        <p:txBody>
          <a:bodyPr vert="horz"/>
          <a:lstStyle/>
          <a:p>
            <a:r>
              <a:rPr lang="de-DE" dirty="0"/>
              <a:t>Allgemeine Titel-Folie ohne Bild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‚Titelfolie hell‘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Referent: Max Mustermann</a:t>
            </a:r>
          </a:p>
          <a:p>
            <a:r>
              <a:rPr lang="de-DE" dirty="0"/>
              <a:t>Datum: 12.12.2024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678EF3A-8E2B-D7C0-7EB2-079924A5757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468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918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ct 4">
            <a:extLst>
              <a:ext uri="{FF2B5EF4-FFF2-40B4-BE49-F238E27FC236}">
                <a16:creationId xmlns:a16="http://schemas.microsoft.com/office/drawing/2014/main" id="{D343CF47-B77A-FA15-A041-BDC703AAE792}"/>
              </a:ext>
            </a:extLst>
          </p:cNvPr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578" y="2067246"/>
            <a:ext cx="10694847" cy="319795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1454244"/>
          </a:xfrm>
        </p:spPr>
        <p:txBody>
          <a:bodyPr vert="horz"/>
          <a:lstStyle/>
          <a:p>
            <a:r>
              <a:rPr lang="de-DE" dirty="0"/>
              <a:t>Allgemeine Titel-Folie mit freigestalltem Bild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‚Titelfolie hell‘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Referent: Max Mustermann</a:t>
            </a:r>
          </a:p>
          <a:p>
            <a:r>
              <a:rPr lang="de-DE" dirty="0"/>
              <a:t>Datum: 12.12.2024</a:t>
            </a:r>
          </a:p>
        </p:txBody>
      </p:sp>
    </p:spTree>
    <p:extLst>
      <p:ext uri="{BB962C8B-B14F-4D97-AF65-F5344CB8AC3E}">
        <p14:creationId xmlns:p14="http://schemas.microsoft.com/office/powerpoint/2010/main" val="3740730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070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969496"/>
          </a:xfrm>
        </p:spPr>
        <p:txBody>
          <a:bodyPr vert="horz"/>
          <a:lstStyle/>
          <a:p>
            <a:r>
              <a:rPr lang="de-DE" dirty="0"/>
              <a:t>Titel-Folie mit Bild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‚Titelfolie hell‘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Referent: Max Mustermann</a:t>
            </a:r>
          </a:p>
          <a:p>
            <a:r>
              <a:rPr lang="de-DE" dirty="0"/>
              <a:t>Datum: 12.12.2024</a:t>
            </a:r>
          </a:p>
        </p:txBody>
      </p:sp>
      <p:pic>
        <p:nvPicPr>
          <p:cNvPr id="26" name="object 12">
            <a:extLst>
              <a:ext uri="{FF2B5EF4-FFF2-40B4-BE49-F238E27FC236}">
                <a16:creationId xmlns:a16="http://schemas.microsoft.com/office/drawing/2014/main" id="{9AC88B26-9F27-FD8F-BCF9-A4F8A0B74A5D}"/>
              </a:ext>
            </a:extLst>
          </p:cNvPr>
          <p:cNvPicPr>
            <a:picLocks noGrp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1196821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1EA6-9D9C-C090-070C-00769A58A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645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1EA6-9D9C-C090-070C-00769A58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72ED44-4DAA-11C1-A42F-8CA91113D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334963"/>
            <a:ext cx="5327650" cy="969496"/>
          </a:xfrm>
        </p:spPr>
        <p:txBody>
          <a:bodyPr vert="horz"/>
          <a:lstStyle/>
          <a:p>
            <a:r>
              <a:rPr lang="de-DE" dirty="0"/>
              <a:t>Sessions Titel-Folie </a:t>
            </a:r>
            <a:br>
              <a:rPr lang="de-DE" dirty="0"/>
            </a:br>
            <a:r>
              <a:rPr lang="de-DE" dirty="0"/>
              <a:t>Layout </a:t>
            </a:r>
            <a:r>
              <a:rPr lang="de-DE" dirty="0">
                <a:latin typeface="+mj-lt"/>
              </a:rPr>
              <a:t>‚Titelfolie hell‘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DF642E38-AF57-A643-1728-FA3B8322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0" y="1977683"/>
            <a:ext cx="5328009" cy="1655762"/>
          </a:xfrm>
        </p:spPr>
        <p:txBody>
          <a:bodyPr/>
          <a:lstStyle/>
          <a:p>
            <a:r>
              <a:rPr lang="de-DE" dirty="0"/>
              <a:t>Referent: Max Mustermann</a:t>
            </a:r>
          </a:p>
          <a:p>
            <a:r>
              <a:rPr lang="de-DE" dirty="0"/>
              <a:t>Datum: 12.12.2024</a:t>
            </a:r>
          </a:p>
        </p:txBody>
      </p:sp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BE59658C-0520-4DD5-916C-9158E0C6844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56" r="5556"/>
          <a:stretch/>
        </p:blipFill>
        <p:spPr>
          <a:xfrm>
            <a:off x="10702800" y="403200"/>
            <a:ext cx="1080000" cy="1215000"/>
          </a:xfrm>
        </p:spPr>
      </p:pic>
    </p:spTree>
    <p:extLst>
      <p:ext uri="{BB962C8B-B14F-4D97-AF65-F5344CB8AC3E}">
        <p14:creationId xmlns:p14="http://schemas.microsoft.com/office/powerpoint/2010/main" val="22854993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409494-AB95-FA25-FBBC-2452CFDB9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651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CD7D78-CA96-D99F-921A-5DFCC9A2C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/>
          <a:p>
            <a:pPr lvl="1"/>
            <a:r>
              <a:rPr lang="de-DE" dirty="0"/>
              <a:t>01	Einführung</a:t>
            </a:r>
          </a:p>
          <a:p>
            <a:r>
              <a:rPr lang="de-DE" dirty="0"/>
              <a:t>02	Ablaufgehäuse</a:t>
            </a:r>
          </a:p>
          <a:p>
            <a:r>
              <a:rPr lang="de-DE" dirty="0"/>
              <a:t>03	Aufsätze</a:t>
            </a:r>
          </a:p>
          <a:p>
            <a:r>
              <a:rPr lang="de-DE" dirty="0"/>
              <a:t>04	Bestellübersicht</a:t>
            </a:r>
          </a:p>
          <a:p>
            <a:r>
              <a:rPr lang="de-DE" dirty="0"/>
              <a:t>05	Lieferprogramm</a:t>
            </a:r>
          </a:p>
          <a:p>
            <a:r>
              <a:rPr lang="de-DE" dirty="0"/>
              <a:t>06	Service</a:t>
            </a:r>
          </a:p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FC80B4-4E66-9966-E4F2-F92A814E8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BC58814-2B9D-7074-AA77-F6927E327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58097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409494-AB95-FA25-FBBC-2452CFDB9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690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409494-AB95-FA25-FBBC-2452CFDB9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CD7D78-CA96-D99F-921A-5DFCC9A2C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404813"/>
            <a:ext cx="11376024" cy="5772150"/>
          </a:xfrm>
        </p:spPr>
        <p:txBody>
          <a:bodyPr/>
          <a:lstStyle/>
          <a:p>
            <a:pPr lvl="1"/>
            <a:r>
              <a:rPr lang="de-DE" dirty="0"/>
              <a:t>01	Einführung</a:t>
            </a:r>
          </a:p>
          <a:p>
            <a:r>
              <a:rPr lang="de-DE" dirty="0"/>
              <a:t>02	Ablaufgehäuse</a:t>
            </a:r>
          </a:p>
          <a:p>
            <a:r>
              <a:rPr lang="de-DE" dirty="0"/>
              <a:t>03	Aufsätze</a:t>
            </a:r>
          </a:p>
          <a:p>
            <a:r>
              <a:rPr lang="de-DE" dirty="0"/>
              <a:t>04	Bestellübersicht</a:t>
            </a:r>
          </a:p>
          <a:p>
            <a:r>
              <a:rPr lang="de-DE" dirty="0"/>
              <a:t>05	Lieferprogramm</a:t>
            </a:r>
          </a:p>
          <a:p>
            <a:r>
              <a:rPr lang="de-DE" dirty="0"/>
              <a:t>06	Service</a:t>
            </a:r>
          </a:p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797EDFA-080F-F5BF-EA49-5BF428977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28120" y="6492746"/>
            <a:ext cx="6359135" cy="138499"/>
          </a:xfrm>
        </p:spPr>
        <p:txBody>
          <a:bodyPr/>
          <a:lstStyle/>
          <a:p>
            <a:r>
              <a:rPr lang="de-DE"/>
              <a:t>Fußzeile über Menü Einfügen-&gt; Kopf- und Fußzeile 'Für alle übernehmen'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102C0D7-136C-879F-66DE-60C9A5FE40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0820" y="6492746"/>
            <a:ext cx="423193" cy="138499"/>
          </a:xfrm>
        </p:spPr>
        <p:txBody>
          <a:bodyPr/>
          <a:lstStyle/>
          <a:p>
            <a:r>
              <a:rPr lang="de-DE"/>
              <a:t>Seite </a:t>
            </a:r>
            <a:fld id="{63A738E5-7FE5-4F0E-80D4-9B95A408A0C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4763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iMZE6sdUFDmJA+lDnZ9uMEAAAAAAADAAAAAAADAAAAAwADAAEA////////BQAAAAMAEAALaSTTjaBlu0G0RP1T1as6sQQAAAABAAMAAAACAAMAAAAEAAQAAQD///////8FAAAABAAQAAtxhjm3vBBZTJzV5daTyVJ/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GIxkTqx1QUOYkD6UOdn24wNEYXRhABsAAAAETGlua2VkU2hhcGVEYXRhAAUAAAAAAAJOYW1lABkAAABMaW5rZWRTaGFwZXNEYXRhUHJvcGVydHkAEFZlcnNpb24AAAAAAAlMYXN0V3JpdGUAxV9qQo4BAAAAAQD/////gwCDAAAABV9pZAAQAAAABGkk042gZbtBtET9U9WrOrEDRGF0YQAbAAAABExpbmtlZFNoYXBlRGF0YQAFAAAAAAACTmFtZQAZAAAATGlua2VkU2hhcGVzRGF0YVByb3BlcnR5ABBWZXJzaW9uAAEAAAAJTGFzdFdyaXRlAA1gakKOAQAAAAIA/////8YAxgAAAAVfaWQAEAAAAARxhjm3vBBZTJzV5daTyVJ/A0RhdGEAUwAAAAhQcmVzZW50YXRpb25TY2FubmVkRm9yTGlua2VkU2hhcGVzAAACTnVtYmVyRm9ybWF0U2VwYXJhdG9yTW9kZQAKAAAAQXV0b21hdGljAAACTmFtZQAkAAAATGlua2VkU2hhcGVQcmVzZW50YXRpb25TZXR0aW5nc0RhdGEAEFZlcnNpb24AAAAAAAlMYXN0V3JpdGUAGGBqQ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QBAwAAAAQA////////JQAGTGlua2VkU2hhcGVQcmVzZW50YXRpb25TZXR0aW5nc0RhdGFfMAQAAAACAAUAAAAAAAUAAAACAAUAAAAAAAUAAAADAA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1080516755554"/>
  <p:tag name="EMPOWERCHARTSPROPERTIES_A_LENGTH" val="24576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4oQUkexnuRHqvNE6Bw3Q6g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oQUkexnuRHqvNE6Bw3Q6gDRGF0YQAWAAAAAlBlcnNvbmFsSWQAAQAAAAAAAk5hbWUACwAAAFBlcnNvbmFsSWQAEFZlcnNpb24AAAAAAAlMYXN0V3JpdGUAUf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2748206"/>
  <p:tag name="EMPOWERCHARTSPROPERTIES_A_LENGTH" val="24576"/>
  <p:tag name="RUNTIME_ID" val="918cdb8e-d34a-406b-909c-b5290b918dc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cIlQVizrJIi0L5xvHBwB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cIlQVizrJIi0L5xvHBwBMDRGF0YQAWAAAAAlBlcnNvbmFsSWQAAQAAAAAAAk5hbWUACwAAAFBlcnNvbmFsSWQAEFZlcnNpb24AAAAAAAlMYXN0V3JpdGUAfv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3246935"/>
  <p:tag name="EMPOWERCHARTSPROPERTIES_A_LENGTH" val="24576"/>
  <p:tag name="RUNTIME_ID" val="dc5d2a2e-5323-454d-9db6-1389f0da1d7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0gcX30DG89Hi4BlTSEBvg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gcX30DG89Hi4BlTSEBvgcDRGF0YQAWAAAAAlBlcnNvbmFsSWQAAQAAAAAAAk5hbWUACwAAAFBlcnNvbmFsSWQAEFZlcnNpb24AAAAAAAlMYXN0V3JpdGUAsP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3751851"/>
  <p:tag name="EMPOWERCHARTSPROPERTIES_A_LENGTH" val="24576"/>
  <p:tag name="RUNTIME_ID" val="f2ea81ed-4eea-455a-a1a3-f95cb887dc4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TuG1PEIFJCmkcvKtbBjS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TuG1PEIFJCmkcvKtbBjSgDRGF0YQAWAAAAAlBlcnNvbmFsSWQAAQAAAAAAAk5hbWUACwAAAFBlcnNvbmFsSWQAEFZlcnNpb24AAAAAAAlMYXN0V3JpdGUA3f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4248020"/>
  <p:tag name="EMPOWERCHARTSPROPERTIES_A_LENGTH" val="24576"/>
  <p:tag name="RUNTIME_ID" val="2ce5bfd2-ddea-45af-b80e-8cadd81d620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34uXkcHt2pDuGnH+6zq4S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4uXkcHt2pDuGnH+6zq4SEDRGF0YQAWAAAAAlBlcnNvbmFsSWQAAQAAAAAAAk5hbWUACwAAAFBlcnNvbmFsSWQAEFZlcnNpb24AAAAAAAlMYXN0V3JpdGUAC/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4699636"/>
  <p:tag name="EMPOWERCHARTSPROPERTIES_A_LENGTH" val="24576"/>
  <p:tag name="RUNTIME_ID" val="de459e53-f351-4843-b371-622d554e0959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96AdcnXcTxGnhrqlmdcsZQ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6AdcnXcTxGnhrqlmdcsZQDRGF0YQAWAAAAAlBlcnNvbmFsSWQAAQAAAAAAAk5hbWUACwAAAFBlcnNvbmFsSWQAEFZlcnNpb24AAAAAAAlMYXN0V3JpdGUAQf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5248003"/>
  <p:tag name="EMPOWERCHARTSPROPERTIES_A_LENGTH" val="24576"/>
  <p:tag name="RUNTIME_ID" val="9fffd076-63fb-478b-9d68-c7c50a57de5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BiS6z8hwdOiZ+gIv3+6g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BiS6z8hwdOiZ+gIv3+6goDRGF0YQAWAAAAAlBlcnNvbmFsSWQAAQAAAAAAAk5hbWUACwAAAFBlcnNvbmFsSWQAEFZlcnNpb24AAAAAAAlMYXN0V3JpdGUAdP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5697218"/>
  <p:tag name="EMPOWERCHARTSPROPERTIES_A_LENGTH" val="24576"/>
  <p:tag name="RUNTIME_ID" val="7196e246-6afc-4f82-824c-c813613aaf1c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BiS6z8hwdOiZ+gIv3+6g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BiS6z8hwdOiZ+gIv3+6goDRGF0YQAWAAAAAlBlcnNvbmFsSWQAAQAAAAAAAk5hbWUACwAAAFBlcnNvbmFsSWQAEFZlcnNpb24AAAAAAAlMYXN0V3JpdGUAdPn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5697218"/>
  <p:tag name="EMPOWERCHARTSPROPERTIES_A_LENGTH" val="24576"/>
  <p:tag name="RUNTIME_ID" val="7196e246-6afc-4f82-824c-c813613aaf1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n6m6R53+JMie6MctTIX9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6m6R53+JMie6MctTIX94DRGF0YQAWAAAAAlBlcnNvbmFsSWQAAQAAAAAAAk5hbWUACwAAAFBlcnNvbmFsSWQAEFZlcnNpb24AAAAAAAlMYXN0V3JpdGUAAw1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5852792"/>
  <p:tag name="EMPOWERCHARTSPROPERTIES_A_LENGTH" val="24576"/>
  <p:tag name="RUNTIME_ID" val="ef018997-e090-4943-9fea-3c2e6c83a85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/iieHUuItZOnNfuR7KS/Js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iieHUuItZOnNfuR7KS/JsDRGF0YQAWAAAAAlBlcnNvbmFsSWQAAQAAAAAAAk5hbWUACwAAAFBlcnNvbmFsSWQAEFZlcnNpb24AAAAAAAlMYXN0V3JpdGUABwxDU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3571323321204"/>
  <p:tag name="EMPOWERCHARTSPROPERTIES_A_LENGTH" val="24576"/>
  <p:tag name="RUNTIME_ID" val="832b5184-4326-4883-9b1e-7c0b56c1a1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ELn0xpHaxBlNztG+2FIt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ELn0xpHaxBlNztG+2FItgDRGF0YQAWAAAAAlBlcnNvbmFsSWQAAQAAAAAAAk5hbWUACwAAAFBlcnNvbmFsSWQAEFZlcnNpb24AAAAAAAlMYXN0V3JpdGUA4nK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3982908206"/>
  <p:tag name="EMPOWERCHARTSPROPERTIES_A_LENGTH" val="24576"/>
  <p:tag name="RUNTIME_ID" val="d1877dda-682c-40eb-9e74-14a5077dce7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2TNJ7drzDFOoIhSo6Lhkyk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TNJ7drzDFOoIhSo6LhkykDRGF0YQAWAAAAAlBlcnNvbmFsSWQAAQAAAAAAAk5hbWUACwAAAFBlcnNvbmFsSWQAEFZlcnNpb24AAAAAAAlMYXN0V3JpdGUA0IK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23726208"/>
  <p:tag name="EMPOWERCHARTSPROPERTIES_A_LENGTH" val="24576"/>
  <p:tag name="RUNTIME_ID" val="15e21499-0ae5-4a66-ad73-e6b7d4f3814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xEva8hx25EukyuU17gyJ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xEva8hx25EukyuU17gyJ8DRGF0YQAWAAAAAlBlcnNvbmFsSWQAAQAAAAAAAk5hbWUACwAAAFBlcnNvbmFsSWQAEFZlcnNpb24AAAAAAAlMYXN0V3JpdGUAdYS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27850723"/>
  <p:tag name="EMPOWERCHARTSPROPERTIES_A_LENGTH" val="24576"/>
  <p:tag name="RUNTIME_ID" val="20ec2924-b81a-4b3f-955e-19054636c88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78C8Yn4HmNNiINEDohcrHo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C8Yn4HmNNiINEDohcrHoDRGF0YQAWAAAAAlBlcnNvbmFsSWQAAQAAAAAAAk5hbWUACwAAAFBlcnNvbmFsSWQAEFZlcnNpb24AAAAAAAlMYXN0V3JpdGUACoa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35291236"/>
  <p:tag name="EMPOWERCHARTSPROPERTIES_A_LENGTH" val="24576"/>
  <p:tag name="RUNTIME_ID" val="951a6550-19d6-46a9-b133-1e2674e09b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6aukisL2VDv6dU7xPZlRg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6aukisL2VDv6dU7xPZlRgDRGF0YQAWAAAAAlBlcnNvbmFsSWQAAQAAAAAAAk5hbWUACwAAAFBlcnNvbmFsSWQAEFZlcnNpb24AAAAAAAlMYXN0V3JpdGUA7Yi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39300758"/>
  <p:tag name="EMPOWERCHARTSPROPERTIES_A_LENGTH" val="24576"/>
  <p:tag name="RUNTIME_ID" val="21942020-70bb-4fe0-ae2b-b5b0b93d6b0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qY7PQ9pPxNow5AKtsrQR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qY7PQ9pPxNow5AKtsrQR0DRGF0YQAWAAAAAlBlcnNvbmFsSWQAAQAAAAAAAk5hbWUACwAAAFBlcnNvbmFsSWQAEFZlcnNpb24AAAAAAAlMYXN0V3JpdGUAfoq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43290567"/>
  <p:tag name="EMPOWERCHARTSPROPERTIES_A_LENGTH" val="24576"/>
  <p:tag name="RUNTIME_ID" val="13fca5cf-2c75-4c32-bcf1-6d1b52177fcb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2rBwlNeCNEhGI94JQBqO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2rBwlNeCNEhGI94JQBqOQDRGF0YQAWAAAAAlBlcnNvbmFsSWQAAQAAAAAAAk5hbWUACwAAAFBlcnNvbmFsSWQAEFZlcnNpb24AAAAAAAlMYXN0V3JpdGUAEYy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47397743"/>
  <p:tag name="EMPOWERCHARTSPROPERTIES_A_LENGTH" val="24576"/>
  <p:tag name="RUNTIME_ID" val="92c93a9b-aa99-479e-9f2d-41bfdec43ef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2Pp2ngvZhpGt8/88867Lig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Pp2ngvZhpGt8/88867LigDRGF0YQAWAAAAAlBlcnNvbmFsSWQAAQAAAAAAAk5hbWUACwAAAFBlcnNvbmFsSWQAEFZlcnNpb24AAAAAAAlMYXN0V3JpdGUAo42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51567305"/>
  <p:tag name="EMPOWERCHARTSPROPERTIES_A_LENGTH" val="24576"/>
  <p:tag name="RUNTIME_ID" val="c82cad19-8ad3-4021-92e0-f4764c3bb6f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/TF5QTYcNAplZdMlqbGd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/TF5QTYcNAplZdMlqbGdADRGF0YQAWAAAAAlBlcnNvbmFsSWQAAQAAAAAAAk5hbWUACwAAAFBlcnNvbmFsSWQAEFZlcnNpb24AAAAAAAlMYXN0V3JpdGUAVo+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55691001"/>
  <p:tag name="EMPOWERCHARTSPROPERTIES_A_LENGTH" val="24576"/>
  <p:tag name="RUNTIME_ID" val="016bca5b-4377-42aa-a726-e017d13f998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llYmuKuUtHpADucuWG2n8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lYmuKuUtHpADucuWG2n8DRGF0YQAWAAAAAlBlcnNvbmFsSWQAAQAAAAAAAk5hbWUACwAAAFBlcnNvbmFsSWQAEFZlcnNpb24AAAAAAAlMYXN0V3JpdGUA4JCE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4059678066"/>
  <p:tag name="EMPOWERCHARTSPROPERTIES_A_LENGTH" val="24576"/>
  <p:tag name="RUNTIME_ID" val="2935663d-56f8-4b10-bed3-053f5829066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GRXns5Q8tHiQCi5qqhL4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GRXns5Q8tHiQCi5qqhL4kDRGF0YQAWAAAAAlBlcnNvbmFsSWQAAQAAAAAAAk5hbWUACwAAAFBlcnNvbmFsSWQAEFZlcnNpb24AAAAAAAlMYXN0V3JpdGUAnOKS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3443818862"/>
  <p:tag name="EMPOWERCHARTSPROPERTIES_A_LENGTH" val="24576"/>
  <p:tag name="RUNTIME_ID" val="d0f31502-e52a-438c-bdc2-680d3b06549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Av2Ci5yEVKlOc/mXM6kq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Av2Ci5yEVKlOc/mXM6kqEDRGF0YQAWAAAAAlBlcnNvbmFsSWQAAQAAAAAAAk5hbWUACwAAAFBlcnNvbmFsSWQAEFZlcnNpb24AAAAAAAlMYXN0V3JpdGUAGvC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44490220"/>
  <p:tag name="EMPOWERCHARTSPROPERTIES_A_LENGTH" val="24576"/>
  <p:tag name="RUNTIME_ID" val="638cf5bd-4412-4b6f-ad25-0e43939d8aa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ViMNbOL4ZLh1HxZMS3fT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ViMNbOL4ZLh1HxZMS3fTMDRGF0YQAWAAAAAlBlcnNvbmFsSWQAAQAAAAAAAk5hbWUACwAAAFBlcnNvbmFsSWQAEFZlcnNpb24AAAAAAAlMYXN0V3JpdGUAwO6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40979600"/>
  <p:tag name="EMPOWERCHARTSPROPERTIES_A_LENGTH" val="24576"/>
  <p:tag name="RUNTIME_ID" val="c0fcb2a6-9412-4ff8-a6c1-56afb5e5e70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eNrlxsSExDgAgLnaN7O8s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eNrlxsSExDgAgLnaN7O8sDRGF0YQAWAAAAAlBlcnNvbmFsSWQAAQAAAAAAAk5hbWUACwAAAFBlcnNvbmFsSWQAEFZlcnNpb24AAAAAAAlMYXN0V3JpdGUAa+y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35050034"/>
  <p:tag name="EMPOWERCHARTSPROPERTIES_A_LENGTH" val="24576"/>
  <p:tag name="RUNTIME_ID" val="f7583878-3b1e-4942-8cb6-edcfcf7ed78b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nQV8wG8O1Kk23mgpRfio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nQV8wG8O1Kk23mgpRfioEDRGF0YQAWAAAAAlBlcnNvbmFsSWQAAQAAAAAAAk5hbWUACwAAAFBlcnNvbmFsSWQAEFZlcnNpb24AAAAAAAlMYXN0V3JpdGUA8+qV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5431286503"/>
  <p:tag name="EMPOWERCHARTSPROPERTIES_A_LENGTH" val="24576"/>
  <p:tag name="RUNTIME_ID" val="f97f6a57-b4b2-4de7-8689-3d4070742b5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3bcfbe4f-06a4-4e1b-b85f-c31423104ce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95ea3e6d-81f1-4897-ae73-846bf0d74a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4d5a009d-3bad-4b1d-829e-447c770ff05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n4fstNXGJMrPhBlM2+RP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n4fstNXGJMrPhBlM2+RPMDRGF0YQAWAAAAAlBlcnNvbmFsSWQAAQAAAAAAAk5hbWUACwAAAFBlcnNvbmFsSWQAEFZlcnNpb24AAAAAAAlMYXN0V3JpdGUAhFeX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6364580211"/>
  <p:tag name="EMPOWERCHARTSPROPERTIES_A_LENGTH" val="24576"/>
  <p:tag name="RUNTIME_ID" val="f0b7d73b-1b5c-4ed1-8499-81a6abd18b4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AZ3tNd3RRKqU6yQ0IVvK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AZ3tNd3RRKqU6yQ0IVvK0DRGF0YQAWAAAAAlBlcnNvbmFsSWQAAQAAAAAAAk5hbWUACwAAAFBlcnNvbmFsSWQAEFZlcnNpb24AAAAAAAlMYXN0V3JpdGUA5fx9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9748618421"/>
  <p:tag name="EMPOWERCHARTSPROPERTIES_A_LENGTH" val="24576"/>
  <p:tag name="RUNTIME_ID" val="dfa8c2ad-a6b4-4ea5-a624-195719975a8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OkulF+XqhCi5mcwbKH4q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OkulF+XqhCi5mcwbKH4qEDRGF0YQAWAAAAAlBlcnNvbmFsSWQAAQAAAAAAAk5hbWUACwAAAFBlcnNvbmFsSWQAEFZlcnNpb24AAAAAAAlMYXN0V3JpdGUAl/19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9750392177"/>
  <p:tag name="EMPOWERCHARTSPROPERTIES_A_LENGTH" val="24576"/>
  <p:tag name="RUNTIME_ID" val="83ffccfe-295b-42e8-b7ec-a0ea52d8f66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TKN/l8PvFApRsMasl1gn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KN/l8PvFApRsMasl1gnIDRGF0YQAWAAAAAlBlcnNvbmFsSWQAAQAAAAAAAk5hbWUACwAAAFBlcnNvbmFsSWQAEFZlcnNpb24AAAAAAAlMYXN0V3JpdGUAnb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630235"/>
  <p:tag name="EMPOWERCHARTSPROPERTIES_A_LENGTH" val="24576"/>
  <p:tag name="RUNTIME_ID" val="751481df-67ff-4188-bd85-b5032d51f66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bVufPdfFFCmwVmIC3p5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bVufPdfFFCmwVmIC3p5RYDRGF0YQAWAAAAAlBlcnNvbmFsSWQAAQAAAAAAAk5hbWUACwAAAFBlcnNvbmFsSWQAEFZlcnNpb24AAAAAAAlMYXN0V3JpdGUA0L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9197998"/>
  <p:tag name="EMPOWERCHARTSPROPERTIES_A_LENGTH" val="24576"/>
  <p:tag name="RUNTIME_ID" val="478d38a4-894d-458a-961b-8d6bb165c6c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g97IzwyQxOgkgnZqXw4i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g97IzwyQxOgkgnZqXw4i0DRGF0YQAWAAAAAlBlcnNvbmFsSWQAAQAAAAAAAk5hbWUACwAAAFBlcnNvbmFsSWQAEFZlcnNpb24AAAAAAAlMYXN0V3JpdGUA2q9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6811672"/>
  <p:tag name="EMPOWERCHARTSPROPERTIES_A_LENGTH" val="24576"/>
  <p:tag name="RUNTIME_ID" val="d2b40d0d-ac78-4f66-9fe9-008df584d06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QajftOcBRGhQDAiRSWKu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QajftOcBRGhQDAiRSWKuIDRGF0YQAWAAAAAlBlcnNvbmFsSWQAAQAAAAAAAk5hbWUACwAAAFBlcnNvbmFsSWQAEFZlcnNpb24AAAAAAAlMYXN0V3JpdGUAG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7310354"/>
  <p:tag name="EMPOWERCHARTSPROPERTIES_A_LENGTH" val="24576"/>
  <p:tag name="RUNTIME_ID" val="429fbfe7-b381-4442-a4ce-27974da2b83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+kwuvf13fROgV600osA4Z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kwuvf13fROgV600osA4ZEDRGF0YQAWAAAAAlBlcnNvbmFsSWQAAQAAAAAAAk5hbWUACwAAAFBlcnNvbmFsSWQAEFZlcnNpb24AAAAAAAlMYXN0V3JpdGUAS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131011"/>
  <p:tag name="EMPOWERCHARTSPROPERTIES_A_LENGTH" val="24576"/>
  <p:tag name="RUNTIME_ID" val="0ada42fc-3680-41b9-b866-b987585086d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g97IzwyQxOgkgnZqXw4i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g97IzwyQxOgkgnZqXw4i0DRGF0YQAWAAAAAlBlcnNvbmFsSWQAAQAAAAAAAk5hbWUACwAAAFBlcnNvbmFsSWQAEFZlcnNpb24AAAAAAAlMYXN0V3JpdGUA2q9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6811672"/>
  <p:tag name="EMPOWERCHARTSPROPERTIES_A_LENGTH" val="24576"/>
  <p:tag name="RUNTIME_ID" val="168a9de7-556d-48da-9a97-d39ad239db0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QajftOcBRGhQDAiRSWKu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QajftOcBRGhQDAiRSWKuIDRGF0YQAWAAAAAlBlcnNvbmFsSWQAAQAAAAAAAk5hbWUACwAAAFBlcnNvbmFsSWQAEFZlcnNpb24AAAAAAAlMYXN0V3JpdGUAG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7310354"/>
  <p:tag name="EMPOWERCHARTSPROPERTIES_A_LENGTH" val="24576"/>
  <p:tag name="RUNTIME_ID" val="63223bc5-820b-4e67-9466-3b36c421c85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+kwuvf13fROgV600osA4Z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kwuvf13fROgV600osA4ZEDRGF0YQAWAAAAAlBlcnNvbmFsSWQAAQAAAAAAAk5hbWUACwAAAFBlcnNvbmFsSWQAEFZlcnNpb24AAAAAAAlMYXN0V3JpdGUAS7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131011"/>
  <p:tag name="EMPOWERCHARTSPROPERTIES_A_LENGTH" val="24576"/>
  <p:tag name="RUNTIME_ID" val="bc51589e-8d9c-4c10-b316-34b26526f17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TKN/l8PvFApRsMasl1gn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KN/l8PvFApRsMasl1gnIDRGF0YQAWAAAAAlBlcnNvbmFsSWQAAQAAAAAAAk5hbWUACwAAAFBlcnNvbmFsSWQAEFZlcnNpb24AAAAAAAlMYXN0V3JpdGUAnb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8630235"/>
  <p:tag name="EMPOWERCHARTSPROPERTIES_A_LENGTH" val="24576"/>
  <p:tag name="RUNTIME_ID" val="751481df-67ff-4188-bd85-b5032d51f66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bVufPdfFFCmwVmIC3p5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bVufPdfFFCmwVmIC3p5RYDRGF0YQAWAAAAAlBlcnNvbmFsSWQAAQAAAAAAAk5hbWUACwAAAFBlcnNvbmFsSWQAEFZlcnNpb24AAAAAAAlMYXN0V3JpdGUA0LB+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50209197998"/>
  <p:tag name="EMPOWERCHARTSPROPERTIES_A_LENGTH" val="24576"/>
  <p:tag name="RUNTIME_ID" val="478d38a4-894d-458a-961b-8d6bb165c6c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140c8362-a6dc-4ad2-bd5b-9bc23b51a6d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v1C94TE7FIlgemDGtuZxA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v1C94TE7FIlgemDGtuZxADRGF0YQAWAAAAAlBlcnNvbmFsSWQAAQAAAAAAAk5hbWUACwAAAFBlcnNvbmFsSWQAEFZlcnNpb24AAAAAAAlMYXN0V3JpdGUAI23GVo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445957875249"/>
  <p:tag name="EMPOWERCHARTSPROPERTIES_A_LENGTH" val="24576"/>
  <p:tag name="RUNTIME_ID" val="1be19534-772e-4a17-a92b-0900e3c3f53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140c8362-a6dc-4ad2-bd5b-9bc23b51a6d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v1C94TE7FIlgemDGtuZxA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v1C94TE7FIlgemDGtuZxADRGF0YQAWAAAAAlBlcnNvbmFsSWQAAQAAAAAAAk5hbWUACwAAAFBlcnNvbmFsSWQAEFZlcnNpb24AAAAAAAlMYXN0V3JpdGUAI23GVo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445957875249"/>
  <p:tag name="EMPOWERCHARTSPROPERTIES_A_LENGTH" val="24576"/>
  <p:tag name="RUNTIME_ID" val="39260faf-847a-4350-9a38-a411371338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e0f704ef-cf7c-45f1-8948-6006319c6e49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l1HBW1kS1GnmBMODsr8t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l1HBW1kS1GnmBMODsr8tEDRGF0YQAWAAAAAlBlcnNvbmFsSWQAAQAAAAAAAk5hbWUACwAAAFBlcnNvbmFsSWQAEFZlcnNpb24AAAAAAAlMYXN0V3JpdGUAEWWO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60502955609"/>
  <p:tag name="EMPOWERCHARTSPROPERTIES_A_LENGTH" val="24576"/>
  <p:tag name="RUNTIME_ID" val="e4084f53-b9cc-4d0e-9ea1-be7c2e8ab64f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X4deSAvNFoYvrgcHiB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X4deSAvNFoYvrgcHiBBEDRGF0YQAWAAAAAlBlcnNvbmFsSWQAAQAAAAAAAk5hbWUACwAAAFBlcnNvbmFsSWQAEFZlcnNpb24AAAAAAAlMYXN0V3JpdGUA7Yh7d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9648140947264"/>
  <p:tag name="EMPOWERCHARTSPROPERTIES_A_LENGTH" val="24576"/>
  <p:tag name="RUNTIME_ID" val="3d934405-d7f6-4c01-8770-5c77ead8531f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u6ahvaTEhKlCvONWMVtW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u6ahvaTEhKlCvONWMVtWkDRGF0YQAWAAAAAlBlcnNvbmFsSWQAAQAAAAAAAk5hbWUACwAAAFBlcnNvbmFsSWQAEFZlcnNpb24AAAAAAAlMYXN0V3JpdGUAuU+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0569364"/>
  <p:tag name="EMPOWERCHARTSPROPERTIES_A_LENGTH" val="24576"/>
  <p:tag name="RUNTIME_ID" val="3a267618-5f7c-4bda-8f29-267a99e6fd8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EA24UzpY1LjCXptbrUgW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EA24UzpY1LjCXptbrUgW4DRGF0YQAWAAAAAlBlcnNvbmFsSWQAAQAAAAAAAk5hbWUACwAAAFBlcnNvbmFsSWQAEFZlcnNpb24AAAAAAAlMYXN0V3JpdGUA+k+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1367957"/>
  <p:tag name="EMPOWERCHARTSPROPERTIES_A_LENGTH" val="24576"/>
  <p:tag name="RUNTIME_ID" val="ea98ec69-b913-4b90-9275-97a80ee549d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8QTdfzftMlHhTeHkQL40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8QTdfzftMlHhTeHkQL40DRGF0YQAWAAAAAlBlcnNvbmFsSWQAAQAAAAAAAk5hbWUACwAAAFBlcnNvbmFsSWQAEFZlcnNpb24AAAAAAAlMYXN0V3JpdGUARVC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1968958"/>
  <p:tag name="EMPOWERCHARTSPROPERTIES_A_LENGTH" val="24576"/>
  <p:tag name="RUNTIME_ID" val="c8c954fe-27f9-4ce6-94b3-00f5e464a49b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QBAQEBAQEBAQEBAQEBAQEAAAAAAAAAAwAAAAMAAAAA/////wMARA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+U8gwkXdV1DkwTiAdNqtiAFAAAAAAADAAAAAAADAAAAAQA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U8gwkXdV1DkwTiAdNqtiADRGF0YQAWAAAAAlBlcnNvbmFsSWQAAQAAAAAAAk5hbWUACwAAAFBlcnNvbmFsSWQAEFZlcnNpb24AAAAAAAlMYXN0V3JpdGUAhlC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2621079"/>
  <p:tag name="EMPOWERCHARTSPROPERTIES_A_LENGTH" val="24576"/>
  <p:tag name="RUNTIME_ID" val="6be3f230-2f5f-45aa-8bf7-0bece012112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g6F6afsdBKhTuk7nXPic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g6F6afsdBKhTuk7nXPicQDRGF0YQAWAAAAAlBlcnNvbmFsSWQAAQAAAAAAAk5hbWUACwAAAFBlcnNvbmFsSWQAEFZlcnNpb24AAAAAAAlMYXN0V3JpdGUAvFCw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213176900"/>
  <p:tag name="EMPOWERCHARTSPROPERTIES_A_LENGTH" val="24576"/>
  <p:tag name="RUNTIME_ID" val="b1b3a897-8223-445b-b951-00868c2a7a4b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Q0aFzfi4xClPspEQmrXc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Q0aFzfi4xClPspEQmrXcEDRGF0YQAWAAAAAlBlcnNvbmFsSWQAAQAAAAAAAk5hbWUACwAAAFBlcnNvbmFsSWQAEFZlcnNpb24AAAAAAAlMYXN0V3JpdGUA5gS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4417133"/>
  <p:tag name="EMPOWERCHARTSPROPERTIES_A_LENGTH" val="24576"/>
  <p:tag name="RUNTIME_ID" val="a4b9ac16-62bf-4278-a904-b588783e989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6CWxcLehtFKs+VJI7AgNCA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CWxcLehtFKs+VJI7AgNCADRGF0YQAWAAAAAlBlcnNvbmFsSWQAAQAAAAAAAk5hbWUACwAAAFBlcnNvbmFsSWQAEFZlcnNpb24AAAAAAAlMYXN0V3JpdGUAIAW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4969593"/>
  <p:tag name="EMPOWERCHARTSPROPERTIES_A_LENGTH" val="24576"/>
  <p:tag name="RUNTIME_ID" val="c843700a-e824-4b3a-abb5-18a9214ca2b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+thrGl9W9Ote51JbIqyh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+thrGl9W9Ote51JbIqyhADRGF0YQAWAAAAAlBlcnNvbmFsSWQAAQAAAAAAAk5hbWUACwAAAFBlcnNvbmFsSWQAEFZlcnNpb24AAAAAAAlMYXN0V3JpdGUAXAW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5520048"/>
  <p:tag name="EMPOWERCHARTSPROPERTIES_A_LENGTH" val="24576"/>
  <p:tag name="RUNTIME_ID" val="b2a7a588-4e25-456a-bb2a-56ec37184e38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lC5+yLuJxJmN4OZs+6jc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lC5+yLuJxJmN4OZs+6jcoDRGF0YQAWAAAAAlBlcnNvbmFsSWQAAQAAAAAAAk5hbWUACwAAAFBlcnNvbmFsSWQAEFZlcnNpb24AAAAAAAlMYXN0V3JpdGUAjwWx5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8473676070487"/>
  <p:tag name="EMPOWERCHARTSPROPERTIES_A_LENGTH" val="24576"/>
  <p:tag name="RUNTIME_ID" val="f7fcfa17-3850-4c6e-9eb9-7fba68e2f9d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/QwAjHnaedKlzZYjgU4RU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QwAjHnaedKlzZYjgU4RUkDRGF0YQAWAAAAAlBlcnNvbmFsSWQAAQAAAAAAAk5hbWUACwAAAFBlcnNvbmFsSWQAEFZlcnNpb24AAAAAAAlMYXN0V3JpdGUA0Pb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29048271"/>
  <p:tag name="EMPOWERCHARTSPROPERTIES_A_LENGTH" val="24576"/>
  <p:tag name="RUNTIME_ID" val="124ffb10-def8-4211-8202-562d1388db5c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UAxvEFjhVGipmHQyDRIK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UAxvEFjhVGipmHQyDRIKYDRGF0YQAWAAAAAlBlcnNvbmFsSWQAAQAAAAAAAk5hbWUACwAAAFBlcnNvbmFsSWQAEFZlcnNpb24AAAAAAAlMYXN0V3JpdGUAIvj0V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07644232350428"/>
  <p:tag name="EMPOWERCHARTSPROPERTIES_A_LENGTH" val="24576"/>
  <p:tag name="RUNTIME_ID" val="9dbf6d38-bae1-4d1a-b4fd-888035d73e8e"/>
</p:tagLst>
</file>

<file path=ppt/theme/theme1.xml><?xml version="1.0" encoding="utf-8"?>
<a:theme xmlns:a="http://schemas.openxmlformats.org/drawingml/2006/main" name="DALLMER">
  <a:themeElements>
    <a:clrScheme name="Dallmer">
      <a:dk1>
        <a:sysClr val="windowText" lastClr="000000"/>
      </a:dk1>
      <a:lt1>
        <a:sysClr val="window" lastClr="FFFFFF"/>
      </a:lt1>
      <a:dk2>
        <a:srgbClr val="8DA696"/>
      </a:dk2>
      <a:lt2>
        <a:srgbClr val="D9D9D9"/>
      </a:lt2>
      <a:accent1>
        <a:srgbClr val="009DE0"/>
      </a:accent1>
      <a:accent2>
        <a:srgbClr val="126A89"/>
      </a:accent2>
      <a:accent3>
        <a:srgbClr val="9B9B9A"/>
      </a:accent3>
      <a:accent4>
        <a:srgbClr val="214F31"/>
      </a:accent4>
      <a:accent5>
        <a:srgbClr val="3083A0"/>
      </a:accent5>
      <a:accent6>
        <a:srgbClr val="C8D0C8"/>
      </a:accent6>
      <a:hlink>
        <a:srgbClr val="055975"/>
      </a:hlink>
      <a:folHlink>
        <a:srgbClr val="808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äsentation1" id="{2BA3996D-F72B-9F43-A10F-8BE6D208CDC6}" vid="{94F1FB47-DCD9-1A46-96CE-0976D37096A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LLMER</Template>
  <TotalTime>0</TotalTime>
  <Words>1966</Words>
  <Application>Microsoft Macintosh PowerPoint</Application>
  <PresentationFormat>Breitbild</PresentationFormat>
  <Paragraphs>285</Paragraphs>
  <Slides>31</Slides>
  <Notes>3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36" baseType="lpstr">
      <vt:lpstr>Arial</vt:lpstr>
      <vt:lpstr>Symbol</vt:lpstr>
      <vt:lpstr>Univers LT Std 47 Cn Lt</vt:lpstr>
      <vt:lpstr>DALLMER</vt:lpstr>
      <vt:lpstr>think-cell Folie</vt:lpstr>
      <vt:lpstr>Allgemeine Titel-Folie ohne Bild Layout ‚Titelfolie dunkel‘</vt:lpstr>
      <vt:lpstr>Sessions Titel-Folie  Layout ‚Titelfolie dunkel‘</vt:lpstr>
      <vt:lpstr>Titel-Folie mit Bild Layout ‚Titelfolie dunkel‘</vt:lpstr>
      <vt:lpstr>Allgemeine Titel-Folie ohne Bild Layout ‚Titelfolie hell‘</vt:lpstr>
      <vt:lpstr>Allgemeine Titel-Folie mit freigestalltem Bild Layout ‚Titelfolie hell‘</vt:lpstr>
      <vt:lpstr>Titel-Folie mit Bild Layout ‚Titelfolie hell‘</vt:lpstr>
      <vt:lpstr>Sessions Titel-Folie  Layout ‚Titelfolie hell‘</vt:lpstr>
      <vt:lpstr>PowerPoint-Präsentation</vt:lpstr>
      <vt:lpstr>PowerPoint-Präsentation</vt:lpstr>
      <vt:lpstr>Überschrift – Layout  ‚Text‘</vt:lpstr>
      <vt:lpstr>Überschrift – Layout  ‚Text‘</vt:lpstr>
      <vt:lpstr>Überschrift – Layout  ‚Text hell+Bild rechts‘</vt:lpstr>
      <vt:lpstr>Überschrift – Layout  ‚Nur Titel‘</vt:lpstr>
      <vt:lpstr>Überschrift – Layout  ‚Text‘</vt:lpstr>
      <vt:lpstr>Überschrift – Layout  ‚Text‘</vt:lpstr>
      <vt:lpstr>Überschrift – Layout  ‚Nur Titel‘</vt:lpstr>
      <vt:lpstr>Überschrift – Layout  ‚Nur Titel‘</vt:lpstr>
      <vt:lpstr>Überschrift – Layout  ‚Nur Titel‘</vt:lpstr>
      <vt:lpstr>Herzlich Willkommen!</vt:lpstr>
      <vt:lpstr>Herzlich Willkommen!</vt:lpstr>
      <vt:lpstr>Herzlich Willkommen!</vt:lpstr>
      <vt:lpstr>Überschrift  – Layout  ‚Text dunkel+Bild rechts‘</vt:lpstr>
      <vt:lpstr>Überschrift  – Layout  ‚Text dunkel+Bild rechts‘</vt:lpstr>
      <vt:lpstr>Überschrift – Layout  ‚Text hell+Bild dunkel rechts‘</vt:lpstr>
      <vt:lpstr>Überschrift – Layout  ‚Text dunkel+Bild dunkel links‘</vt:lpstr>
      <vt:lpstr>Überschrift – Layout  ‚Text hell+Bild hell rechts‘</vt:lpstr>
      <vt:lpstr>Überschrift – Layout  ‚Text dunkel+Bild hell links‘</vt:lpstr>
      <vt:lpstr>Überschrift – Layout ‚Text hell+Bild rechts 2/3‘</vt:lpstr>
      <vt:lpstr>Überschrift – Layout ‚Text dunkel+Bild rechts 2/3‘</vt:lpstr>
      <vt:lpstr>Fragen zum Thema Entwässerung?</vt:lpstr>
      <vt:lpstr>Piktogramme / Symbole – Copy-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gemeine Titel-Folie ohne Bild Layout ‚Titelfolie dunkel‘</dc:title>
  <dc:creator>Pauline Brisch</dc:creator>
  <cp:lastModifiedBy>Björn Wieser</cp:lastModifiedBy>
  <cp:revision>12</cp:revision>
  <dcterms:created xsi:type="dcterms:W3CDTF">2024-05-14T13:56:43Z</dcterms:created>
  <dcterms:modified xsi:type="dcterms:W3CDTF">2024-05-21T10:06:53Z</dcterms:modified>
</cp:coreProperties>
</file>